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4"/>
  </p:sldMasterIdLst>
  <p:notesMasterIdLst>
    <p:notesMasterId r:id="rId27"/>
  </p:notesMasterIdLst>
  <p:handoutMasterIdLst>
    <p:handoutMasterId r:id="rId28"/>
  </p:handoutMasterIdLst>
  <p:sldIdLst>
    <p:sldId id="268" r:id="rId5"/>
    <p:sldId id="472" r:id="rId6"/>
    <p:sldId id="475" r:id="rId7"/>
    <p:sldId id="476" r:id="rId8"/>
    <p:sldId id="477" r:id="rId9"/>
    <p:sldId id="473" r:id="rId10"/>
    <p:sldId id="478" r:id="rId11"/>
    <p:sldId id="479" r:id="rId12"/>
    <p:sldId id="480" r:id="rId13"/>
    <p:sldId id="481" r:id="rId14"/>
    <p:sldId id="482" r:id="rId15"/>
    <p:sldId id="484" r:id="rId16"/>
    <p:sldId id="474" r:id="rId17"/>
    <p:sldId id="469" r:id="rId18"/>
    <p:sldId id="465" r:id="rId19"/>
    <p:sldId id="467" r:id="rId20"/>
    <p:sldId id="462" r:id="rId21"/>
    <p:sldId id="303" r:id="rId22"/>
    <p:sldId id="304" r:id="rId23"/>
    <p:sldId id="471" r:id="rId24"/>
    <p:sldId id="428" r:id="rId25"/>
    <p:sldId id="452" r:id="rId26"/>
  </p:sldIdLst>
  <p:sldSz cx="9144000" cy="6858000" type="screen4x3"/>
  <p:notesSz cx="6797675" cy="9926638"/>
  <p:custDataLst>
    <p:tags r:id="rId29"/>
  </p:custDataLst>
  <p:defaultTextStyle>
    <a:defPPr>
      <a:defRPr lang="es-ES"/>
    </a:defPPr>
    <a:lvl1pPr marL="0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6895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3790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0684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7581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4477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1372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8266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5161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2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E5EE"/>
    <a:srgbClr val="D5E5EF"/>
    <a:srgbClr val="DEEBF4"/>
    <a:srgbClr val="EEF5F9"/>
    <a:srgbClr val="E9F2F7"/>
    <a:srgbClr val="D4E5F0"/>
    <a:srgbClr val="E7E6E6"/>
    <a:srgbClr val="FCE3D4"/>
    <a:srgbClr val="E389A0"/>
    <a:srgbClr val="FBD5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39430D-EFCE-BB94-2932-5CC852A7AF8D}" v="48" dt="2024-09-18T10:10:12.380"/>
    <p1510:client id="{8FC9310F-BC00-70C2-9E1F-748178648A86}" v="14" dt="2024-09-17T14:06:11.663"/>
    <p1510:client id="{B40863DA-BF15-D6DD-7478-F7A1E0197E2C}" v="254" dt="2024-09-19T13:58:28.937"/>
    <p1510:client id="{BC5E679B-CBF8-F7FE-DD58-628E965AFAD7}" v="3" dt="2024-09-18T10:26:44.6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3022"/>
        <p:guide pos="288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svg"/><Relationship Id="rId1" Type="http://schemas.openxmlformats.org/officeDocument/2006/relationships/image" Target="../media/image11.png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diagrams/_rels/data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svg"/><Relationship Id="rId1" Type="http://schemas.openxmlformats.org/officeDocument/2006/relationships/image" Target="../media/image19.png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svg"/><Relationship Id="rId1" Type="http://schemas.openxmlformats.org/officeDocument/2006/relationships/image" Target="../media/image27.png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svg"/><Relationship Id="rId1" Type="http://schemas.openxmlformats.org/officeDocument/2006/relationships/image" Target="../media/image11.png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diagrams/_rels/drawing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svg"/><Relationship Id="rId1" Type="http://schemas.openxmlformats.org/officeDocument/2006/relationships/image" Target="../media/image19.png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svg"/><Relationship Id="rId1" Type="http://schemas.openxmlformats.org/officeDocument/2006/relationships/image" Target="../media/image27.png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18/5/colors/Iconchunking_colored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accent2">
        <a:alpha val="0"/>
      </a:schemeClr>
    </dgm:fillClrLst>
    <dgm:linClrLst meth="repeat">
      <a:schemeClr val="accent2">
        <a:alpha val="0"/>
      </a:schemeClr>
    </dgm:linClrLst>
    <dgm:effectClrLst/>
    <dgm:txLinClrLst/>
    <dgm:txFillClrLst meth="repeat">
      <a:schemeClr val="accent2"/>
      <a:schemeClr val="accent3"/>
      <a:schemeClr val="accent4"/>
      <a:schemeClr val="accent5"/>
      <a:schemeClr val="accent6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BBD1CC-EEB7-4CD9-8737-CBF0ECA0494F}" type="doc">
      <dgm:prSet loTypeId="urn:microsoft.com/office/officeart/2016/7/layout/RepeatingBendingProcessNew" loCatId="process" qsTypeId="urn:microsoft.com/office/officeart/2005/8/quickstyle/simple4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C8D74D23-CFAD-4C54-BC53-D0847575EEC0}">
      <dgm:prSet/>
      <dgm:spPr/>
      <dgm:t>
        <a:bodyPr/>
        <a:lstStyle/>
        <a:p>
          <a:r>
            <a:rPr lang="es-ES">
              <a:latin typeface="Aptos Display" panose="020F0302020204030204"/>
            </a:rPr>
            <a:t>Ethereum</a:t>
          </a:r>
          <a:endParaRPr lang="en-US"/>
        </a:p>
      </dgm:t>
    </dgm:pt>
    <dgm:pt modelId="{66DB49CF-7CAA-4F74-8597-6EE44ECE5253}" type="parTrans" cxnId="{960EB0B9-2528-4C54-A1A7-C43A5B959257}">
      <dgm:prSet/>
      <dgm:spPr/>
      <dgm:t>
        <a:bodyPr/>
        <a:lstStyle/>
        <a:p>
          <a:endParaRPr lang="en-US"/>
        </a:p>
      </dgm:t>
    </dgm:pt>
    <dgm:pt modelId="{8675AD87-58E6-4578-AE6D-FCE2D8B0F00F}" type="sibTrans" cxnId="{960EB0B9-2528-4C54-A1A7-C43A5B959257}">
      <dgm:prSet/>
      <dgm:spPr/>
      <dgm:t>
        <a:bodyPr/>
        <a:lstStyle/>
        <a:p>
          <a:endParaRPr lang="en-US"/>
        </a:p>
      </dgm:t>
    </dgm:pt>
    <dgm:pt modelId="{6A75F1C9-EFBF-45AA-A694-270AA1AE48FC}">
      <dgm:prSet/>
      <dgm:spPr/>
      <dgm:t>
        <a:bodyPr/>
        <a:lstStyle/>
        <a:p>
          <a:r>
            <a:rPr lang="es-ES" err="1">
              <a:latin typeface="Aptos Display" panose="020F0302020204030204"/>
            </a:rPr>
            <a:t>MetaMask</a:t>
          </a:r>
          <a:endParaRPr lang="en-US" err="1"/>
        </a:p>
      </dgm:t>
    </dgm:pt>
    <dgm:pt modelId="{69D84657-3372-4CBF-8ABB-485D67461DC9}" type="parTrans" cxnId="{1DA39D4F-1668-41C3-8658-A2DF600BF019}">
      <dgm:prSet/>
      <dgm:spPr/>
      <dgm:t>
        <a:bodyPr/>
        <a:lstStyle/>
        <a:p>
          <a:endParaRPr lang="en-US"/>
        </a:p>
      </dgm:t>
    </dgm:pt>
    <dgm:pt modelId="{ACA53D48-5FBE-4B93-A82E-47BA39823F31}" type="sibTrans" cxnId="{1DA39D4F-1668-41C3-8658-A2DF600BF019}">
      <dgm:prSet/>
      <dgm:spPr/>
      <dgm:t>
        <a:bodyPr/>
        <a:lstStyle/>
        <a:p>
          <a:endParaRPr lang="en-US"/>
        </a:p>
      </dgm:t>
    </dgm:pt>
    <dgm:pt modelId="{30AC517E-C8AF-47A7-B3C6-9D0DDAE5814F}">
      <dgm:prSet/>
      <dgm:spPr/>
      <dgm:t>
        <a:bodyPr/>
        <a:lstStyle/>
        <a:p>
          <a:pPr rtl="0"/>
          <a:r>
            <a:rPr lang="es-ES"/>
            <a:t>Web3.</a:t>
          </a:r>
          <a:r>
            <a:rPr lang="es-ES">
              <a:latin typeface="Aptos Display" panose="020F0302020204030204"/>
            </a:rPr>
            <a:t>js</a:t>
          </a:r>
          <a:endParaRPr lang="en-US">
            <a:latin typeface="Aptos Display" panose="020F0302020204030204"/>
          </a:endParaRPr>
        </a:p>
      </dgm:t>
    </dgm:pt>
    <dgm:pt modelId="{333DDC12-6CC9-4002-B4B1-BF3E1A74D641}" type="parTrans" cxnId="{F9C2D728-9520-4AB4-9971-897437A67725}">
      <dgm:prSet/>
      <dgm:spPr/>
      <dgm:t>
        <a:bodyPr/>
        <a:lstStyle/>
        <a:p>
          <a:endParaRPr lang="en-US"/>
        </a:p>
      </dgm:t>
    </dgm:pt>
    <dgm:pt modelId="{59988C6F-47F7-460F-8096-E25F3E2A0281}" type="sibTrans" cxnId="{F9C2D728-9520-4AB4-9971-897437A67725}">
      <dgm:prSet/>
      <dgm:spPr/>
      <dgm:t>
        <a:bodyPr/>
        <a:lstStyle/>
        <a:p>
          <a:endParaRPr lang="en-US"/>
        </a:p>
      </dgm:t>
    </dgm:pt>
    <dgm:pt modelId="{0B0E4D79-6EBA-4DFE-9E72-66DFCD59A2CE}">
      <dgm:prSet/>
      <dgm:spPr/>
      <dgm:t>
        <a:bodyPr/>
        <a:lstStyle/>
        <a:p>
          <a:r>
            <a:rPr lang="es-ES"/>
            <a:t>Ejemplos Prácticos</a:t>
          </a:r>
          <a:endParaRPr lang="en-US"/>
        </a:p>
      </dgm:t>
    </dgm:pt>
    <dgm:pt modelId="{39D848B3-44DC-4CBB-BF5E-296B597A775C}" type="parTrans" cxnId="{69D1B2D8-B7F7-4E12-9CBB-5C0BF751DC1D}">
      <dgm:prSet/>
      <dgm:spPr/>
      <dgm:t>
        <a:bodyPr/>
        <a:lstStyle/>
        <a:p>
          <a:endParaRPr lang="en-US"/>
        </a:p>
      </dgm:t>
    </dgm:pt>
    <dgm:pt modelId="{7BB8DD91-77C9-4DAB-9F64-59B81A7B6D41}" type="sibTrans" cxnId="{69D1B2D8-B7F7-4E12-9CBB-5C0BF751DC1D}">
      <dgm:prSet/>
      <dgm:spPr/>
      <dgm:t>
        <a:bodyPr/>
        <a:lstStyle/>
        <a:p>
          <a:endParaRPr lang="en-US"/>
        </a:p>
      </dgm:t>
    </dgm:pt>
    <dgm:pt modelId="{FD98D548-8F15-46B7-9CC8-57A9AE689EB0}">
      <dgm:prSet/>
      <dgm:spPr/>
      <dgm:t>
        <a:bodyPr/>
        <a:lstStyle/>
        <a:p>
          <a:r>
            <a:rPr lang="es-ES"/>
            <a:t>Conclusiones</a:t>
          </a:r>
          <a:endParaRPr lang="en-US"/>
        </a:p>
      </dgm:t>
    </dgm:pt>
    <dgm:pt modelId="{99B57599-1C47-4522-8580-FF73C36A228A}" type="parTrans" cxnId="{CDACF813-3C8C-4B9B-B632-6550FBD6CA13}">
      <dgm:prSet/>
      <dgm:spPr/>
      <dgm:t>
        <a:bodyPr/>
        <a:lstStyle/>
        <a:p>
          <a:endParaRPr lang="en-US"/>
        </a:p>
      </dgm:t>
    </dgm:pt>
    <dgm:pt modelId="{20C10B6A-ACD8-46B6-8DEB-FBFC9F8B03E4}" type="sibTrans" cxnId="{CDACF813-3C8C-4B9B-B632-6550FBD6CA13}">
      <dgm:prSet/>
      <dgm:spPr/>
      <dgm:t>
        <a:bodyPr/>
        <a:lstStyle/>
        <a:p>
          <a:endParaRPr lang="en-US"/>
        </a:p>
      </dgm:t>
    </dgm:pt>
    <dgm:pt modelId="{70619371-73A1-49A3-BD4C-208F23DF8B18}">
      <dgm:prSet phldr="0"/>
      <dgm:spPr/>
      <dgm:t>
        <a:bodyPr/>
        <a:lstStyle/>
        <a:p>
          <a:r>
            <a:rPr lang="es-ES">
              <a:latin typeface="Aptos Display" panose="020F0302020204030204"/>
            </a:rPr>
            <a:t>Ganache</a:t>
          </a:r>
          <a:endParaRPr lang="es-ES"/>
        </a:p>
      </dgm:t>
    </dgm:pt>
    <dgm:pt modelId="{B66BFE00-7D8E-41A4-A905-25B284F6D04B}" type="parTrans" cxnId="{B89C36D2-5C3B-461D-ABDA-CAB27F6D7A48}">
      <dgm:prSet/>
      <dgm:spPr/>
    </dgm:pt>
    <dgm:pt modelId="{1E8A2B10-8AA5-4430-BFDA-AE6499E6F347}" type="sibTrans" cxnId="{B89C36D2-5C3B-461D-ABDA-CAB27F6D7A48}">
      <dgm:prSet/>
      <dgm:spPr/>
      <dgm:t>
        <a:bodyPr/>
        <a:lstStyle/>
        <a:p>
          <a:endParaRPr lang="es-ES"/>
        </a:p>
      </dgm:t>
    </dgm:pt>
    <dgm:pt modelId="{2DDA0DDD-7116-4D16-BF0D-50B0AB5B4D7C}" type="pres">
      <dgm:prSet presAssocID="{00BBD1CC-EEB7-4CD9-8737-CBF0ECA0494F}" presName="Name0" presStyleCnt="0">
        <dgm:presLayoutVars>
          <dgm:dir/>
          <dgm:resizeHandles val="exact"/>
        </dgm:presLayoutVars>
      </dgm:prSet>
      <dgm:spPr/>
    </dgm:pt>
    <dgm:pt modelId="{B2270AB5-584D-432C-951F-CD209D8F6AA7}" type="pres">
      <dgm:prSet presAssocID="{C8D74D23-CFAD-4C54-BC53-D0847575EEC0}" presName="node" presStyleLbl="node1" presStyleIdx="0" presStyleCnt="6">
        <dgm:presLayoutVars>
          <dgm:bulletEnabled val="1"/>
        </dgm:presLayoutVars>
      </dgm:prSet>
      <dgm:spPr/>
    </dgm:pt>
    <dgm:pt modelId="{415225D4-EDF8-4BC8-86E9-B973B7A21F59}" type="pres">
      <dgm:prSet presAssocID="{8675AD87-58E6-4578-AE6D-FCE2D8B0F00F}" presName="sibTrans" presStyleLbl="sibTrans1D1" presStyleIdx="0" presStyleCnt="5"/>
      <dgm:spPr/>
    </dgm:pt>
    <dgm:pt modelId="{329C4806-489C-48C2-85DA-04DF49DF8891}" type="pres">
      <dgm:prSet presAssocID="{8675AD87-58E6-4578-AE6D-FCE2D8B0F00F}" presName="connectorText" presStyleLbl="sibTrans1D1" presStyleIdx="0" presStyleCnt="5"/>
      <dgm:spPr/>
    </dgm:pt>
    <dgm:pt modelId="{8477F0AA-1528-407C-A988-2C119243A419}" type="pres">
      <dgm:prSet presAssocID="{6A75F1C9-EFBF-45AA-A694-270AA1AE48FC}" presName="node" presStyleLbl="node1" presStyleIdx="1" presStyleCnt="6">
        <dgm:presLayoutVars>
          <dgm:bulletEnabled val="1"/>
        </dgm:presLayoutVars>
      </dgm:prSet>
      <dgm:spPr/>
    </dgm:pt>
    <dgm:pt modelId="{8BEDEE8D-44CF-4A35-9F23-9DAE8D214788}" type="pres">
      <dgm:prSet presAssocID="{ACA53D48-5FBE-4B93-A82E-47BA39823F31}" presName="sibTrans" presStyleLbl="sibTrans1D1" presStyleIdx="1" presStyleCnt="5"/>
      <dgm:spPr/>
    </dgm:pt>
    <dgm:pt modelId="{95DC39C8-5A99-4BC1-8AAA-F676D85EE0F9}" type="pres">
      <dgm:prSet presAssocID="{ACA53D48-5FBE-4B93-A82E-47BA39823F31}" presName="connectorText" presStyleLbl="sibTrans1D1" presStyleIdx="1" presStyleCnt="5"/>
      <dgm:spPr/>
    </dgm:pt>
    <dgm:pt modelId="{75B3485F-24C6-449E-89BF-79F7DA69A32A}" type="pres">
      <dgm:prSet presAssocID="{30AC517E-C8AF-47A7-B3C6-9D0DDAE5814F}" presName="node" presStyleLbl="node1" presStyleIdx="2" presStyleCnt="6">
        <dgm:presLayoutVars>
          <dgm:bulletEnabled val="1"/>
        </dgm:presLayoutVars>
      </dgm:prSet>
      <dgm:spPr/>
    </dgm:pt>
    <dgm:pt modelId="{CC3D4679-712A-4B0A-919E-E26EDB07301A}" type="pres">
      <dgm:prSet presAssocID="{59988C6F-47F7-460F-8096-E25F3E2A0281}" presName="sibTrans" presStyleLbl="sibTrans1D1" presStyleIdx="2" presStyleCnt="5"/>
      <dgm:spPr/>
    </dgm:pt>
    <dgm:pt modelId="{C5290487-10CC-4460-A216-67134A12B567}" type="pres">
      <dgm:prSet presAssocID="{59988C6F-47F7-460F-8096-E25F3E2A0281}" presName="connectorText" presStyleLbl="sibTrans1D1" presStyleIdx="2" presStyleCnt="5"/>
      <dgm:spPr/>
    </dgm:pt>
    <dgm:pt modelId="{FEF089D1-FB69-4377-AD55-95BC091C9E61}" type="pres">
      <dgm:prSet presAssocID="{70619371-73A1-49A3-BD4C-208F23DF8B18}" presName="node" presStyleLbl="node1" presStyleIdx="3" presStyleCnt="6">
        <dgm:presLayoutVars>
          <dgm:bulletEnabled val="1"/>
        </dgm:presLayoutVars>
      </dgm:prSet>
      <dgm:spPr/>
    </dgm:pt>
    <dgm:pt modelId="{287CB513-5BA9-49BB-8980-A1B6B141C6F3}" type="pres">
      <dgm:prSet presAssocID="{1E8A2B10-8AA5-4430-BFDA-AE6499E6F347}" presName="sibTrans" presStyleLbl="sibTrans1D1" presStyleIdx="3" presStyleCnt="5"/>
      <dgm:spPr/>
    </dgm:pt>
    <dgm:pt modelId="{BE7A9430-EED3-4C8A-9617-AF9C31484804}" type="pres">
      <dgm:prSet presAssocID="{1E8A2B10-8AA5-4430-BFDA-AE6499E6F347}" presName="connectorText" presStyleLbl="sibTrans1D1" presStyleIdx="3" presStyleCnt="5"/>
      <dgm:spPr/>
    </dgm:pt>
    <dgm:pt modelId="{A02EAA17-04A4-45E4-B26C-D9B532112336}" type="pres">
      <dgm:prSet presAssocID="{0B0E4D79-6EBA-4DFE-9E72-66DFCD59A2CE}" presName="node" presStyleLbl="node1" presStyleIdx="4" presStyleCnt="6">
        <dgm:presLayoutVars>
          <dgm:bulletEnabled val="1"/>
        </dgm:presLayoutVars>
      </dgm:prSet>
      <dgm:spPr/>
    </dgm:pt>
    <dgm:pt modelId="{37CAF4FB-8C81-45B5-902E-2F2512E3612B}" type="pres">
      <dgm:prSet presAssocID="{7BB8DD91-77C9-4DAB-9F64-59B81A7B6D41}" presName="sibTrans" presStyleLbl="sibTrans1D1" presStyleIdx="4" presStyleCnt="5"/>
      <dgm:spPr/>
    </dgm:pt>
    <dgm:pt modelId="{834457B3-9617-4C29-B4BE-51A76EFD4E1D}" type="pres">
      <dgm:prSet presAssocID="{7BB8DD91-77C9-4DAB-9F64-59B81A7B6D41}" presName="connectorText" presStyleLbl="sibTrans1D1" presStyleIdx="4" presStyleCnt="5"/>
      <dgm:spPr/>
    </dgm:pt>
    <dgm:pt modelId="{A8F29259-E19B-498C-8EB4-F218B32AE5D1}" type="pres">
      <dgm:prSet presAssocID="{FD98D548-8F15-46B7-9CC8-57A9AE689EB0}" presName="node" presStyleLbl="node1" presStyleIdx="5" presStyleCnt="6">
        <dgm:presLayoutVars>
          <dgm:bulletEnabled val="1"/>
        </dgm:presLayoutVars>
      </dgm:prSet>
      <dgm:spPr/>
    </dgm:pt>
  </dgm:ptLst>
  <dgm:cxnLst>
    <dgm:cxn modelId="{CDACF813-3C8C-4B9B-B632-6550FBD6CA13}" srcId="{00BBD1CC-EEB7-4CD9-8737-CBF0ECA0494F}" destId="{FD98D548-8F15-46B7-9CC8-57A9AE689EB0}" srcOrd="5" destOrd="0" parTransId="{99B57599-1C47-4522-8580-FF73C36A228A}" sibTransId="{20C10B6A-ACD8-46B6-8DEB-FBFC9F8B03E4}"/>
    <dgm:cxn modelId="{50CD3014-1EEF-45D7-BB31-A176F0C406AA}" type="presOf" srcId="{59988C6F-47F7-460F-8096-E25F3E2A0281}" destId="{CC3D4679-712A-4B0A-919E-E26EDB07301A}" srcOrd="0" destOrd="0" presId="urn:microsoft.com/office/officeart/2016/7/layout/RepeatingBendingProcessNew"/>
    <dgm:cxn modelId="{3EF60926-4A35-4E4E-884D-712EB6D391EE}" type="presOf" srcId="{30AC517E-C8AF-47A7-B3C6-9D0DDAE5814F}" destId="{75B3485F-24C6-449E-89BF-79F7DA69A32A}" srcOrd="0" destOrd="0" presId="urn:microsoft.com/office/officeart/2016/7/layout/RepeatingBendingProcessNew"/>
    <dgm:cxn modelId="{F9C2D728-9520-4AB4-9971-897437A67725}" srcId="{00BBD1CC-EEB7-4CD9-8737-CBF0ECA0494F}" destId="{30AC517E-C8AF-47A7-B3C6-9D0DDAE5814F}" srcOrd="2" destOrd="0" parTransId="{333DDC12-6CC9-4002-B4B1-BF3E1A74D641}" sibTransId="{59988C6F-47F7-460F-8096-E25F3E2A0281}"/>
    <dgm:cxn modelId="{8C38F928-9B27-4D49-BE20-FADCD3CDA35F}" type="presOf" srcId="{1E8A2B10-8AA5-4430-BFDA-AE6499E6F347}" destId="{287CB513-5BA9-49BB-8980-A1B6B141C6F3}" srcOrd="0" destOrd="0" presId="urn:microsoft.com/office/officeart/2016/7/layout/RepeatingBendingProcessNew"/>
    <dgm:cxn modelId="{D4432F35-27C0-4AED-B475-78B73FCDC101}" type="presOf" srcId="{C8D74D23-CFAD-4C54-BC53-D0847575EEC0}" destId="{B2270AB5-584D-432C-951F-CD209D8F6AA7}" srcOrd="0" destOrd="0" presId="urn:microsoft.com/office/officeart/2016/7/layout/RepeatingBendingProcessNew"/>
    <dgm:cxn modelId="{FB6F6C5D-EBF3-4781-953A-F9B4ECD046CA}" type="presOf" srcId="{FD98D548-8F15-46B7-9CC8-57A9AE689EB0}" destId="{A8F29259-E19B-498C-8EB4-F218B32AE5D1}" srcOrd="0" destOrd="0" presId="urn:microsoft.com/office/officeart/2016/7/layout/RepeatingBendingProcessNew"/>
    <dgm:cxn modelId="{14AA6E63-9A1D-417F-903E-E2920138F0AB}" type="presOf" srcId="{8675AD87-58E6-4578-AE6D-FCE2D8B0F00F}" destId="{329C4806-489C-48C2-85DA-04DF49DF8891}" srcOrd="1" destOrd="0" presId="urn:microsoft.com/office/officeart/2016/7/layout/RepeatingBendingProcessNew"/>
    <dgm:cxn modelId="{8006246B-91E6-47BE-857B-01A03EEF3AA9}" type="presOf" srcId="{8675AD87-58E6-4578-AE6D-FCE2D8B0F00F}" destId="{415225D4-EDF8-4BC8-86E9-B973B7A21F59}" srcOrd="0" destOrd="0" presId="urn:microsoft.com/office/officeart/2016/7/layout/RepeatingBendingProcessNew"/>
    <dgm:cxn modelId="{5FD6754E-D4A1-42E1-B521-C6B0D89FE1E1}" type="presOf" srcId="{6A75F1C9-EFBF-45AA-A694-270AA1AE48FC}" destId="{8477F0AA-1528-407C-A988-2C119243A419}" srcOrd="0" destOrd="0" presId="urn:microsoft.com/office/officeart/2016/7/layout/RepeatingBendingProcessNew"/>
    <dgm:cxn modelId="{1DA39D4F-1668-41C3-8658-A2DF600BF019}" srcId="{00BBD1CC-EEB7-4CD9-8737-CBF0ECA0494F}" destId="{6A75F1C9-EFBF-45AA-A694-270AA1AE48FC}" srcOrd="1" destOrd="0" parTransId="{69D84657-3372-4CBF-8ABB-485D67461DC9}" sibTransId="{ACA53D48-5FBE-4B93-A82E-47BA39823F31}"/>
    <dgm:cxn modelId="{ADD93392-9EE3-4036-BA11-B96CE502030B}" type="presOf" srcId="{ACA53D48-5FBE-4B93-A82E-47BA39823F31}" destId="{95DC39C8-5A99-4BC1-8AAA-F676D85EE0F9}" srcOrd="1" destOrd="0" presId="urn:microsoft.com/office/officeart/2016/7/layout/RepeatingBendingProcessNew"/>
    <dgm:cxn modelId="{4BC45292-127F-4510-8F17-3C44B60A0DE5}" type="presOf" srcId="{00BBD1CC-EEB7-4CD9-8737-CBF0ECA0494F}" destId="{2DDA0DDD-7116-4D16-BF0D-50B0AB5B4D7C}" srcOrd="0" destOrd="0" presId="urn:microsoft.com/office/officeart/2016/7/layout/RepeatingBendingProcessNew"/>
    <dgm:cxn modelId="{D8088CAA-9CEE-45BE-9B4F-01CF104D4BE1}" type="presOf" srcId="{7BB8DD91-77C9-4DAB-9F64-59B81A7B6D41}" destId="{834457B3-9617-4C29-B4BE-51A76EFD4E1D}" srcOrd="1" destOrd="0" presId="urn:microsoft.com/office/officeart/2016/7/layout/RepeatingBendingProcessNew"/>
    <dgm:cxn modelId="{960EB0B9-2528-4C54-A1A7-C43A5B959257}" srcId="{00BBD1CC-EEB7-4CD9-8737-CBF0ECA0494F}" destId="{C8D74D23-CFAD-4C54-BC53-D0847575EEC0}" srcOrd="0" destOrd="0" parTransId="{66DB49CF-7CAA-4F74-8597-6EE44ECE5253}" sibTransId="{8675AD87-58E6-4578-AE6D-FCE2D8B0F00F}"/>
    <dgm:cxn modelId="{C09A57C2-EBAE-4052-9E9C-744F2D687B51}" type="presOf" srcId="{1E8A2B10-8AA5-4430-BFDA-AE6499E6F347}" destId="{BE7A9430-EED3-4C8A-9617-AF9C31484804}" srcOrd="1" destOrd="0" presId="urn:microsoft.com/office/officeart/2016/7/layout/RepeatingBendingProcessNew"/>
    <dgm:cxn modelId="{3BF1A1CB-CF9D-4569-B598-2A4D45F63B84}" type="presOf" srcId="{0B0E4D79-6EBA-4DFE-9E72-66DFCD59A2CE}" destId="{A02EAA17-04A4-45E4-B26C-D9B532112336}" srcOrd="0" destOrd="0" presId="urn:microsoft.com/office/officeart/2016/7/layout/RepeatingBendingProcessNew"/>
    <dgm:cxn modelId="{B89C36D2-5C3B-461D-ABDA-CAB27F6D7A48}" srcId="{00BBD1CC-EEB7-4CD9-8737-CBF0ECA0494F}" destId="{70619371-73A1-49A3-BD4C-208F23DF8B18}" srcOrd="3" destOrd="0" parTransId="{B66BFE00-7D8E-41A4-A905-25B284F6D04B}" sibTransId="{1E8A2B10-8AA5-4430-BFDA-AE6499E6F347}"/>
    <dgm:cxn modelId="{5491ADD6-64F1-4CD2-9CBB-4A70B45701FC}" type="presOf" srcId="{59988C6F-47F7-460F-8096-E25F3E2A0281}" destId="{C5290487-10CC-4460-A216-67134A12B567}" srcOrd="1" destOrd="0" presId="urn:microsoft.com/office/officeart/2016/7/layout/RepeatingBendingProcessNew"/>
    <dgm:cxn modelId="{69D1B2D8-B7F7-4E12-9CBB-5C0BF751DC1D}" srcId="{00BBD1CC-EEB7-4CD9-8737-CBF0ECA0494F}" destId="{0B0E4D79-6EBA-4DFE-9E72-66DFCD59A2CE}" srcOrd="4" destOrd="0" parTransId="{39D848B3-44DC-4CBB-BF5E-296B597A775C}" sibTransId="{7BB8DD91-77C9-4DAB-9F64-59B81A7B6D41}"/>
    <dgm:cxn modelId="{5016CEDC-D052-41E0-A279-1F8B9DB4912C}" type="presOf" srcId="{70619371-73A1-49A3-BD4C-208F23DF8B18}" destId="{FEF089D1-FB69-4377-AD55-95BC091C9E61}" srcOrd="0" destOrd="0" presId="urn:microsoft.com/office/officeart/2016/7/layout/RepeatingBendingProcessNew"/>
    <dgm:cxn modelId="{1D7520E2-929D-4B04-86C0-5F9F959CAAC3}" type="presOf" srcId="{ACA53D48-5FBE-4B93-A82E-47BA39823F31}" destId="{8BEDEE8D-44CF-4A35-9F23-9DAE8D214788}" srcOrd="0" destOrd="0" presId="urn:microsoft.com/office/officeart/2016/7/layout/RepeatingBendingProcessNew"/>
    <dgm:cxn modelId="{F5AAD4F3-365C-4924-A279-74909B369208}" type="presOf" srcId="{7BB8DD91-77C9-4DAB-9F64-59B81A7B6D41}" destId="{37CAF4FB-8C81-45B5-902E-2F2512E3612B}" srcOrd="0" destOrd="0" presId="urn:microsoft.com/office/officeart/2016/7/layout/RepeatingBendingProcessNew"/>
    <dgm:cxn modelId="{C079B177-6282-4F45-95F5-BAE621C099B0}" type="presParOf" srcId="{2DDA0DDD-7116-4D16-BF0D-50B0AB5B4D7C}" destId="{B2270AB5-584D-432C-951F-CD209D8F6AA7}" srcOrd="0" destOrd="0" presId="urn:microsoft.com/office/officeart/2016/7/layout/RepeatingBendingProcessNew"/>
    <dgm:cxn modelId="{9114FF6C-4306-48F5-A8CE-43C0A418853B}" type="presParOf" srcId="{2DDA0DDD-7116-4D16-BF0D-50B0AB5B4D7C}" destId="{415225D4-EDF8-4BC8-86E9-B973B7A21F59}" srcOrd="1" destOrd="0" presId="urn:microsoft.com/office/officeart/2016/7/layout/RepeatingBendingProcessNew"/>
    <dgm:cxn modelId="{DE137AB4-D8CF-45EC-917A-26F2F6AB00E1}" type="presParOf" srcId="{415225D4-EDF8-4BC8-86E9-B973B7A21F59}" destId="{329C4806-489C-48C2-85DA-04DF49DF8891}" srcOrd="0" destOrd="0" presId="urn:microsoft.com/office/officeart/2016/7/layout/RepeatingBendingProcessNew"/>
    <dgm:cxn modelId="{BE9FFE72-23A4-4C4F-85EC-1240ABC20D1C}" type="presParOf" srcId="{2DDA0DDD-7116-4D16-BF0D-50B0AB5B4D7C}" destId="{8477F0AA-1528-407C-A988-2C119243A419}" srcOrd="2" destOrd="0" presId="urn:microsoft.com/office/officeart/2016/7/layout/RepeatingBendingProcessNew"/>
    <dgm:cxn modelId="{278BC549-4971-46DE-92B5-F4BAC753747D}" type="presParOf" srcId="{2DDA0DDD-7116-4D16-BF0D-50B0AB5B4D7C}" destId="{8BEDEE8D-44CF-4A35-9F23-9DAE8D214788}" srcOrd="3" destOrd="0" presId="urn:microsoft.com/office/officeart/2016/7/layout/RepeatingBendingProcessNew"/>
    <dgm:cxn modelId="{E599CFC6-A498-4BB9-9F58-FC74C6F82997}" type="presParOf" srcId="{8BEDEE8D-44CF-4A35-9F23-9DAE8D214788}" destId="{95DC39C8-5A99-4BC1-8AAA-F676D85EE0F9}" srcOrd="0" destOrd="0" presId="urn:microsoft.com/office/officeart/2016/7/layout/RepeatingBendingProcessNew"/>
    <dgm:cxn modelId="{1C8E9067-2C59-4BA3-9006-00917346E13A}" type="presParOf" srcId="{2DDA0DDD-7116-4D16-BF0D-50B0AB5B4D7C}" destId="{75B3485F-24C6-449E-89BF-79F7DA69A32A}" srcOrd="4" destOrd="0" presId="urn:microsoft.com/office/officeart/2016/7/layout/RepeatingBendingProcessNew"/>
    <dgm:cxn modelId="{A99D9F1E-931B-4ACE-8826-51B76C75CBF4}" type="presParOf" srcId="{2DDA0DDD-7116-4D16-BF0D-50B0AB5B4D7C}" destId="{CC3D4679-712A-4B0A-919E-E26EDB07301A}" srcOrd="5" destOrd="0" presId="urn:microsoft.com/office/officeart/2016/7/layout/RepeatingBendingProcessNew"/>
    <dgm:cxn modelId="{2AB71C6F-5B95-4B28-B46B-9B20B2138B7E}" type="presParOf" srcId="{CC3D4679-712A-4B0A-919E-E26EDB07301A}" destId="{C5290487-10CC-4460-A216-67134A12B567}" srcOrd="0" destOrd="0" presId="urn:microsoft.com/office/officeart/2016/7/layout/RepeatingBendingProcessNew"/>
    <dgm:cxn modelId="{3E86CAC2-0D86-40D3-B3DF-34318853BD67}" type="presParOf" srcId="{2DDA0DDD-7116-4D16-BF0D-50B0AB5B4D7C}" destId="{FEF089D1-FB69-4377-AD55-95BC091C9E61}" srcOrd="6" destOrd="0" presId="urn:microsoft.com/office/officeart/2016/7/layout/RepeatingBendingProcessNew"/>
    <dgm:cxn modelId="{F1045236-500F-4929-BC4D-F954CBE8BAC6}" type="presParOf" srcId="{2DDA0DDD-7116-4D16-BF0D-50B0AB5B4D7C}" destId="{287CB513-5BA9-49BB-8980-A1B6B141C6F3}" srcOrd="7" destOrd="0" presId="urn:microsoft.com/office/officeart/2016/7/layout/RepeatingBendingProcessNew"/>
    <dgm:cxn modelId="{D8E7E9FF-006C-4C1A-B46C-A4B14EA5C411}" type="presParOf" srcId="{287CB513-5BA9-49BB-8980-A1B6B141C6F3}" destId="{BE7A9430-EED3-4C8A-9617-AF9C31484804}" srcOrd="0" destOrd="0" presId="urn:microsoft.com/office/officeart/2016/7/layout/RepeatingBendingProcessNew"/>
    <dgm:cxn modelId="{0ABFE0B4-39B3-46F5-9A7D-6B5BF94CE1B0}" type="presParOf" srcId="{2DDA0DDD-7116-4D16-BF0D-50B0AB5B4D7C}" destId="{A02EAA17-04A4-45E4-B26C-D9B532112336}" srcOrd="8" destOrd="0" presId="urn:microsoft.com/office/officeart/2016/7/layout/RepeatingBendingProcessNew"/>
    <dgm:cxn modelId="{FD8929F2-4D1A-4B86-846F-1D8969E5DE74}" type="presParOf" srcId="{2DDA0DDD-7116-4D16-BF0D-50B0AB5B4D7C}" destId="{37CAF4FB-8C81-45B5-902E-2F2512E3612B}" srcOrd="9" destOrd="0" presId="urn:microsoft.com/office/officeart/2016/7/layout/RepeatingBendingProcessNew"/>
    <dgm:cxn modelId="{C80B7F09-8765-4173-850F-C1CAC13E4CAE}" type="presParOf" srcId="{37CAF4FB-8C81-45B5-902E-2F2512E3612B}" destId="{834457B3-9617-4C29-B4BE-51A76EFD4E1D}" srcOrd="0" destOrd="0" presId="urn:microsoft.com/office/officeart/2016/7/layout/RepeatingBendingProcessNew"/>
    <dgm:cxn modelId="{B16E9E21-BA58-4D15-9063-274ACD08527E}" type="presParOf" srcId="{2DDA0DDD-7116-4D16-BF0D-50B0AB5B4D7C}" destId="{A8F29259-E19B-498C-8EB4-F218B32AE5D1}" srcOrd="10" destOrd="0" presId="urn:microsoft.com/office/officeart/2016/7/layout/RepeatingBendingProcessNew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F9FF7F-F8DF-4372-8040-D1947A32D861}" type="doc">
      <dgm:prSet loTypeId="urn:microsoft.com/office/officeart/2005/8/layout/vList2" loCatId="list" qsTypeId="urn:microsoft.com/office/officeart/2005/8/quickstyle/simple1" qsCatId="simple" csTypeId="urn:microsoft.com/office/officeart/2005/8/colors/colorful4" csCatId="colorful"/>
      <dgm:spPr/>
      <dgm:t>
        <a:bodyPr/>
        <a:lstStyle/>
        <a:p>
          <a:endParaRPr lang="en-US"/>
        </a:p>
      </dgm:t>
    </dgm:pt>
    <dgm:pt modelId="{290F0E2F-7196-402D-BDDE-F6FF8CC0669B}">
      <dgm:prSet/>
      <dgm:spPr/>
      <dgm:t>
        <a:bodyPr/>
        <a:lstStyle/>
        <a:p>
          <a:r>
            <a:rPr lang="es-ES"/>
            <a:t>Es una billetera de criptomonedas y una extensión de navegador.</a:t>
          </a:r>
          <a:endParaRPr lang="en-US"/>
        </a:p>
      </dgm:t>
    </dgm:pt>
    <dgm:pt modelId="{C7FF893F-CD76-4C79-8E05-1D6E55D59011}" type="parTrans" cxnId="{01613A84-2D9E-4014-A05A-9FEF4543E6DD}">
      <dgm:prSet/>
      <dgm:spPr/>
      <dgm:t>
        <a:bodyPr/>
        <a:lstStyle/>
        <a:p>
          <a:endParaRPr lang="en-US"/>
        </a:p>
      </dgm:t>
    </dgm:pt>
    <dgm:pt modelId="{F9FB2B42-F243-4531-9BB8-FBFEB2864166}" type="sibTrans" cxnId="{01613A84-2D9E-4014-A05A-9FEF4543E6DD}">
      <dgm:prSet/>
      <dgm:spPr/>
      <dgm:t>
        <a:bodyPr/>
        <a:lstStyle/>
        <a:p>
          <a:endParaRPr lang="en-US"/>
        </a:p>
      </dgm:t>
    </dgm:pt>
    <dgm:pt modelId="{FDEA507F-5016-499D-A066-0B92AA31078F}">
      <dgm:prSet/>
      <dgm:spPr/>
      <dgm:t>
        <a:bodyPr/>
        <a:lstStyle/>
        <a:p>
          <a:r>
            <a:rPr lang="es-ES"/>
            <a:t>Permite a los usuarios interactuar con la blockchain de Ethereum.</a:t>
          </a:r>
          <a:endParaRPr lang="en-US"/>
        </a:p>
      </dgm:t>
    </dgm:pt>
    <dgm:pt modelId="{2E759A57-829F-4B72-9128-F0810A377A18}" type="parTrans" cxnId="{EB9BA6F4-A2F5-4558-9F4B-373A6D45EE5F}">
      <dgm:prSet/>
      <dgm:spPr/>
      <dgm:t>
        <a:bodyPr/>
        <a:lstStyle/>
        <a:p>
          <a:endParaRPr lang="en-US"/>
        </a:p>
      </dgm:t>
    </dgm:pt>
    <dgm:pt modelId="{A75E8924-846C-4456-8220-EC23D7CA08F5}" type="sibTrans" cxnId="{EB9BA6F4-A2F5-4558-9F4B-373A6D45EE5F}">
      <dgm:prSet/>
      <dgm:spPr/>
      <dgm:t>
        <a:bodyPr/>
        <a:lstStyle/>
        <a:p>
          <a:endParaRPr lang="en-US"/>
        </a:p>
      </dgm:t>
    </dgm:pt>
    <dgm:pt modelId="{6E46B4A4-C0F3-4079-ADC2-10327CFAFE8B}">
      <dgm:prSet/>
      <dgm:spPr/>
      <dgm:t>
        <a:bodyPr/>
        <a:lstStyle/>
        <a:p>
          <a:r>
            <a:rPr lang="es-ES"/>
            <a:t>Facilita la gestión de cuentas y claves privadas.</a:t>
          </a:r>
          <a:endParaRPr lang="en-US"/>
        </a:p>
      </dgm:t>
    </dgm:pt>
    <dgm:pt modelId="{F16BF91C-6D06-465F-838B-4968C5A0A610}" type="parTrans" cxnId="{53960660-8DD5-464E-BBE7-C05F04287DAF}">
      <dgm:prSet/>
      <dgm:spPr/>
      <dgm:t>
        <a:bodyPr/>
        <a:lstStyle/>
        <a:p>
          <a:endParaRPr lang="en-US"/>
        </a:p>
      </dgm:t>
    </dgm:pt>
    <dgm:pt modelId="{2A5FFE86-3033-4918-BCEC-0015C7E0B582}" type="sibTrans" cxnId="{53960660-8DD5-464E-BBE7-C05F04287DAF}">
      <dgm:prSet/>
      <dgm:spPr/>
      <dgm:t>
        <a:bodyPr/>
        <a:lstStyle/>
        <a:p>
          <a:endParaRPr lang="en-US"/>
        </a:p>
      </dgm:t>
    </dgm:pt>
    <dgm:pt modelId="{CF3005C8-A102-451C-A284-806B08913AAE}">
      <dgm:prSet/>
      <dgm:spPr/>
      <dgm:t>
        <a:bodyPr/>
        <a:lstStyle/>
        <a:p>
          <a:r>
            <a:rPr lang="es-ES"/>
            <a:t>Permite la firma de transacciones y la interacción con aplicaciones descentralizadas (dApps).</a:t>
          </a:r>
          <a:endParaRPr lang="en-US"/>
        </a:p>
      </dgm:t>
    </dgm:pt>
    <dgm:pt modelId="{85B1E330-C827-4DA5-9D2B-55E1CBCC5026}" type="parTrans" cxnId="{54591FE5-E446-4CF6-8BD6-8C5A29097367}">
      <dgm:prSet/>
      <dgm:spPr/>
      <dgm:t>
        <a:bodyPr/>
        <a:lstStyle/>
        <a:p>
          <a:endParaRPr lang="en-US"/>
        </a:p>
      </dgm:t>
    </dgm:pt>
    <dgm:pt modelId="{A017E020-9FC4-494D-A9FB-1A9ACFD6DDF7}" type="sibTrans" cxnId="{54591FE5-E446-4CF6-8BD6-8C5A29097367}">
      <dgm:prSet/>
      <dgm:spPr/>
      <dgm:t>
        <a:bodyPr/>
        <a:lstStyle/>
        <a:p>
          <a:endParaRPr lang="en-US"/>
        </a:p>
      </dgm:t>
    </dgm:pt>
    <dgm:pt modelId="{CE7D04FE-5B74-4F83-BEA0-361FBAD7D78B}" type="pres">
      <dgm:prSet presAssocID="{37F9FF7F-F8DF-4372-8040-D1947A32D861}" presName="linear" presStyleCnt="0">
        <dgm:presLayoutVars>
          <dgm:animLvl val="lvl"/>
          <dgm:resizeHandles val="exact"/>
        </dgm:presLayoutVars>
      </dgm:prSet>
      <dgm:spPr/>
    </dgm:pt>
    <dgm:pt modelId="{B189DB7D-2E99-4EBE-A7E6-7E249030A32F}" type="pres">
      <dgm:prSet presAssocID="{290F0E2F-7196-402D-BDDE-F6FF8CC0669B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DA0694B8-F6FD-4C5F-A8FB-2BE2B74FC95F}" type="pres">
      <dgm:prSet presAssocID="{F9FB2B42-F243-4531-9BB8-FBFEB2864166}" presName="spacer" presStyleCnt="0"/>
      <dgm:spPr/>
    </dgm:pt>
    <dgm:pt modelId="{A5A04A11-BC13-461E-B976-65429BA5D3EF}" type="pres">
      <dgm:prSet presAssocID="{FDEA507F-5016-499D-A066-0B92AA31078F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2C39C515-21F2-4CA9-9E93-A09A86ACBD66}" type="pres">
      <dgm:prSet presAssocID="{A75E8924-846C-4456-8220-EC23D7CA08F5}" presName="spacer" presStyleCnt="0"/>
      <dgm:spPr/>
    </dgm:pt>
    <dgm:pt modelId="{868A8B24-BB2B-46C5-80C0-B2ED631CD411}" type="pres">
      <dgm:prSet presAssocID="{6E46B4A4-C0F3-4079-ADC2-10327CFAFE8B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555011A-1079-4FB4-BB1E-478E67DC5D96}" type="pres">
      <dgm:prSet presAssocID="{2A5FFE86-3033-4918-BCEC-0015C7E0B582}" presName="spacer" presStyleCnt="0"/>
      <dgm:spPr/>
    </dgm:pt>
    <dgm:pt modelId="{E90B179A-736C-449E-8745-21C69590EC89}" type="pres">
      <dgm:prSet presAssocID="{CF3005C8-A102-451C-A284-806B08913AAE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53960660-8DD5-464E-BBE7-C05F04287DAF}" srcId="{37F9FF7F-F8DF-4372-8040-D1947A32D861}" destId="{6E46B4A4-C0F3-4079-ADC2-10327CFAFE8B}" srcOrd="2" destOrd="0" parTransId="{F16BF91C-6D06-465F-838B-4968C5A0A610}" sibTransId="{2A5FFE86-3033-4918-BCEC-0015C7E0B582}"/>
    <dgm:cxn modelId="{C226B969-C070-48DE-9F13-01886B4AF513}" type="presOf" srcId="{6E46B4A4-C0F3-4079-ADC2-10327CFAFE8B}" destId="{868A8B24-BB2B-46C5-80C0-B2ED631CD411}" srcOrd="0" destOrd="0" presId="urn:microsoft.com/office/officeart/2005/8/layout/vList2"/>
    <dgm:cxn modelId="{81EC1953-D14C-4C76-876D-8D58663C8FBF}" type="presOf" srcId="{290F0E2F-7196-402D-BDDE-F6FF8CC0669B}" destId="{B189DB7D-2E99-4EBE-A7E6-7E249030A32F}" srcOrd="0" destOrd="0" presId="urn:microsoft.com/office/officeart/2005/8/layout/vList2"/>
    <dgm:cxn modelId="{01613A84-2D9E-4014-A05A-9FEF4543E6DD}" srcId="{37F9FF7F-F8DF-4372-8040-D1947A32D861}" destId="{290F0E2F-7196-402D-BDDE-F6FF8CC0669B}" srcOrd="0" destOrd="0" parTransId="{C7FF893F-CD76-4C79-8E05-1D6E55D59011}" sibTransId="{F9FB2B42-F243-4531-9BB8-FBFEB2864166}"/>
    <dgm:cxn modelId="{B5C71FA0-8213-48DB-8530-90BCAD4A07A3}" type="presOf" srcId="{FDEA507F-5016-499D-A066-0B92AA31078F}" destId="{A5A04A11-BC13-461E-B976-65429BA5D3EF}" srcOrd="0" destOrd="0" presId="urn:microsoft.com/office/officeart/2005/8/layout/vList2"/>
    <dgm:cxn modelId="{3EF25ED1-3E12-4F36-9857-3B80588D9430}" type="presOf" srcId="{CF3005C8-A102-451C-A284-806B08913AAE}" destId="{E90B179A-736C-449E-8745-21C69590EC89}" srcOrd="0" destOrd="0" presId="urn:microsoft.com/office/officeart/2005/8/layout/vList2"/>
    <dgm:cxn modelId="{9EDC81D5-5CAA-4901-A507-FFA04DFABA26}" type="presOf" srcId="{37F9FF7F-F8DF-4372-8040-D1947A32D861}" destId="{CE7D04FE-5B74-4F83-BEA0-361FBAD7D78B}" srcOrd="0" destOrd="0" presId="urn:microsoft.com/office/officeart/2005/8/layout/vList2"/>
    <dgm:cxn modelId="{54591FE5-E446-4CF6-8BD6-8C5A29097367}" srcId="{37F9FF7F-F8DF-4372-8040-D1947A32D861}" destId="{CF3005C8-A102-451C-A284-806B08913AAE}" srcOrd="3" destOrd="0" parTransId="{85B1E330-C827-4DA5-9D2B-55E1CBCC5026}" sibTransId="{A017E020-9FC4-494D-A9FB-1A9ACFD6DDF7}"/>
    <dgm:cxn modelId="{EB9BA6F4-A2F5-4558-9F4B-373A6D45EE5F}" srcId="{37F9FF7F-F8DF-4372-8040-D1947A32D861}" destId="{FDEA507F-5016-499D-A066-0B92AA31078F}" srcOrd="1" destOrd="0" parTransId="{2E759A57-829F-4B72-9128-F0810A377A18}" sibTransId="{A75E8924-846C-4456-8220-EC23D7CA08F5}"/>
    <dgm:cxn modelId="{7B96D772-E1A6-4C26-9D31-F0BD1FFC5813}" type="presParOf" srcId="{CE7D04FE-5B74-4F83-BEA0-361FBAD7D78B}" destId="{B189DB7D-2E99-4EBE-A7E6-7E249030A32F}" srcOrd="0" destOrd="0" presId="urn:microsoft.com/office/officeart/2005/8/layout/vList2"/>
    <dgm:cxn modelId="{BC1163D2-05FB-4FE8-94A0-5678F1260C9A}" type="presParOf" srcId="{CE7D04FE-5B74-4F83-BEA0-361FBAD7D78B}" destId="{DA0694B8-F6FD-4C5F-A8FB-2BE2B74FC95F}" srcOrd="1" destOrd="0" presId="urn:microsoft.com/office/officeart/2005/8/layout/vList2"/>
    <dgm:cxn modelId="{DD750DCC-977F-4CAE-83BF-A3B08C518000}" type="presParOf" srcId="{CE7D04FE-5B74-4F83-BEA0-361FBAD7D78B}" destId="{A5A04A11-BC13-461E-B976-65429BA5D3EF}" srcOrd="2" destOrd="0" presId="urn:microsoft.com/office/officeart/2005/8/layout/vList2"/>
    <dgm:cxn modelId="{DB15CC2F-E66C-4C0B-943D-990EF4A4C566}" type="presParOf" srcId="{CE7D04FE-5B74-4F83-BEA0-361FBAD7D78B}" destId="{2C39C515-21F2-4CA9-9E93-A09A86ACBD66}" srcOrd="3" destOrd="0" presId="urn:microsoft.com/office/officeart/2005/8/layout/vList2"/>
    <dgm:cxn modelId="{D2E8D073-2C71-4643-AA78-D30A05BF149C}" type="presParOf" srcId="{CE7D04FE-5B74-4F83-BEA0-361FBAD7D78B}" destId="{868A8B24-BB2B-46C5-80C0-B2ED631CD411}" srcOrd="4" destOrd="0" presId="urn:microsoft.com/office/officeart/2005/8/layout/vList2"/>
    <dgm:cxn modelId="{F78FECC8-A6F4-4F29-A032-EA14AF7A50AB}" type="presParOf" srcId="{CE7D04FE-5B74-4F83-BEA0-361FBAD7D78B}" destId="{8555011A-1079-4FB4-BB1E-478E67DC5D96}" srcOrd="5" destOrd="0" presId="urn:microsoft.com/office/officeart/2005/8/layout/vList2"/>
    <dgm:cxn modelId="{7C995872-3085-46D7-BF07-39CB544A16D5}" type="presParOf" srcId="{CE7D04FE-5B74-4F83-BEA0-361FBAD7D78B}" destId="{E90B179A-736C-449E-8745-21C69590EC89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A384530-8787-4FE3-A176-A9B9FE8EB5E7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5D53EAE-AAD3-4D1C-95D7-2625EA4555B0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Gestión de múltiples cuentas.</a:t>
          </a:r>
          <a:endParaRPr lang="en-US"/>
        </a:p>
      </dgm:t>
    </dgm:pt>
    <dgm:pt modelId="{139F5C8C-4D41-4859-BD77-657CA1A63C19}" type="parTrans" cxnId="{117184EA-A3D9-4542-A126-48437F79808D}">
      <dgm:prSet/>
      <dgm:spPr/>
      <dgm:t>
        <a:bodyPr/>
        <a:lstStyle/>
        <a:p>
          <a:endParaRPr lang="en-US"/>
        </a:p>
      </dgm:t>
    </dgm:pt>
    <dgm:pt modelId="{3B079913-FCC7-44C7-9480-3E71B37B8C14}" type="sibTrans" cxnId="{117184EA-A3D9-4542-A126-48437F79808D}">
      <dgm:prSet/>
      <dgm:spPr/>
      <dgm:t>
        <a:bodyPr/>
        <a:lstStyle/>
        <a:p>
          <a:endParaRPr lang="en-US"/>
        </a:p>
      </dgm:t>
    </dgm:pt>
    <dgm:pt modelId="{28EB149D-D8DF-4095-95AD-485117E893C9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Conexión a diferentes redes (Mainnet, Testnets).</a:t>
          </a:r>
          <a:endParaRPr lang="en-US"/>
        </a:p>
      </dgm:t>
    </dgm:pt>
    <dgm:pt modelId="{5EFF1867-9532-43A9-BE4A-1AA04E4185C7}" type="parTrans" cxnId="{8B651396-1155-44C2-9281-8ABA6467BBD2}">
      <dgm:prSet/>
      <dgm:spPr/>
      <dgm:t>
        <a:bodyPr/>
        <a:lstStyle/>
        <a:p>
          <a:endParaRPr lang="en-US"/>
        </a:p>
      </dgm:t>
    </dgm:pt>
    <dgm:pt modelId="{B509AC3E-A792-4D47-A4D4-4AB44D71A3C5}" type="sibTrans" cxnId="{8B651396-1155-44C2-9281-8ABA6467BBD2}">
      <dgm:prSet/>
      <dgm:spPr/>
      <dgm:t>
        <a:bodyPr/>
        <a:lstStyle/>
        <a:p>
          <a:endParaRPr lang="en-US"/>
        </a:p>
      </dgm:t>
    </dgm:pt>
    <dgm:pt modelId="{0535CE3A-3A2C-4456-97F8-54DAE8FC1DBF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Interfaz de usuario amigable.</a:t>
          </a:r>
          <a:endParaRPr lang="en-US"/>
        </a:p>
      </dgm:t>
    </dgm:pt>
    <dgm:pt modelId="{26F90C20-9F8A-4529-A301-70DB614F13CA}" type="parTrans" cxnId="{31D60F06-36D6-4FD6-B91B-84F45E001127}">
      <dgm:prSet/>
      <dgm:spPr/>
      <dgm:t>
        <a:bodyPr/>
        <a:lstStyle/>
        <a:p>
          <a:endParaRPr lang="en-US"/>
        </a:p>
      </dgm:t>
    </dgm:pt>
    <dgm:pt modelId="{C737956A-18E5-4C65-9F77-24DDC9F1E7B5}" type="sibTrans" cxnId="{31D60F06-36D6-4FD6-B91B-84F45E001127}">
      <dgm:prSet/>
      <dgm:spPr/>
      <dgm:t>
        <a:bodyPr/>
        <a:lstStyle/>
        <a:p>
          <a:endParaRPr lang="en-US"/>
        </a:p>
      </dgm:t>
    </dgm:pt>
    <dgm:pt modelId="{F073DB9D-193F-40C0-A66A-A8DE52E76A1E}">
      <dgm:prSet/>
      <dgm:spPr/>
      <dgm:t>
        <a:bodyPr/>
        <a:lstStyle/>
        <a:p>
          <a:pPr>
            <a:lnSpc>
              <a:spcPct val="100000"/>
            </a:lnSpc>
          </a:pPr>
          <a:r>
            <a:rPr lang="es-ES"/>
            <a:t>Seguridad: Almacena claves privadas localmente.</a:t>
          </a:r>
          <a:endParaRPr lang="en-US"/>
        </a:p>
      </dgm:t>
    </dgm:pt>
    <dgm:pt modelId="{BAB927B5-D7D0-40E9-95DD-19327D229923}" type="parTrans" cxnId="{69C0A991-D940-4C88-8834-E3AC73AB5F16}">
      <dgm:prSet/>
      <dgm:spPr/>
      <dgm:t>
        <a:bodyPr/>
        <a:lstStyle/>
        <a:p>
          <a:endParaRPr lang="en-US"/>
        </a:p>
      </dgm:t>
    </dgm:pt>
    <dgm:pt modelId="{EEA6B888-90B0-4DE7-8A92-097202D718B7}" type="sibTrans" cxnId="{69C0A991-D940-4C88-8834-E3AC73AB5F16}">
      <dgm:prSet/>
      <dgm:spPr/>
      <dgm:t>
        <a:bodyPr/>
        <a:lstStyle/>
        <a:p>
          <a:endParaRPr lang="en-US"/>
        </a:p>
      </dgm:t>
    </dgm:pt>
    <dgm:pt modelId="{0C05E45F-7F7A-466C-8367-C9BDFED117D3}" type="pres">
      <dgm:prSet presAssocID="{DA384530-8787-4FE3-A176-A9B9FE8EB5E7}" presName="root" presStyleCnt="0">
        <dgm:presLayoutVars>
          <dgm:dir/>
          <dgm:resizeHandles val="exact"/>
        </dgm:presLayoutVars>
      </dgm:prSet>
      <dgm:spPr/>
    </dgm:pt>
    <dgm:pt modelId="{87750A5E-9C10-47A9-BF62-98DE35B3BD97}" type="pres">
      <dgm:prSet presAssocID="{65D53EAE-AAD3-4D1C-95D7-2625EA4555B0}" presName="compNode" presStyleCnt="0"/>
      <dgm:spPr/>
    </dgm:pt>
    <dgm:pt modelId="{A2FD718F-ED16-4E12-9BD5-8FB558983CE1}" type="pres">
      <dgm:prSet presAssocID="{65D53EAE-AAD3-4D1C-95D7-2625EA4555B0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arty Mask"/>
        </a:ext>
      </dgm:extLst>
    </dgm:pt>
    <dgm:pt modelId="{60D88AE9-07E0-4499-B7AA-265955B8957D}" type="pres">
      <dgm:prSet presAssocID="{65D53EAE-AAD3-4D1C-95D7-2625EA4555B0}" presName="spaceRect" presStyleCnt="0"/>
      <dgm:spPr/>
    </dgm:pt>
    <dgm:pt modelId="{5D0C9949-265A-44F1-90CD-19D61D5D3BDA}" type="pres">
      <dgm:prSet presAssocID="{65D53EAE-AAD3-4D1C-95D7-2625EA4555B0}" presName="textRect" presStyleLbl="revTx" presStyleIdx="0" presStyleCnt="4">
        <dgm:presLayoutVars>
          <dgm:chMax val="1"/>
          <dgm:chPref val="1"/>
        </dgm:presLayoutVars>
      </dgm:prSet>
      <dgm:spPr/>
    </dgm:pt>
    <dgm:pt modelId="{52261F6C-4B4D-4871-84FC-21E0E0928152}" type="pres">
      <dgm:prSet presAssocID="{3B079913-FCC7-44C7-9480-3E71B37B8C14}" presName="sibTrans" presStyleCnt="0"/>
      <dgm:spPr/>
    </dgm:pt>
    <dgm:pt modelId="{3ABCB4F5-054D-4AE4-84A6-66656AB777D5}" type="pres">
      <dgm:prSet presAssocID="{28EB149D-D8DF-4095-95AD-485117E893C9}" presName="compNode" presStyleCnt="0"/>
      <dgm:spPr/>
    </dgm:pt>
    <dgm:pt modelId="{60672CC6-1E92-402A-9140-1A7E4AD5FA60}" type="pres">
      <dgm:prSet presAssocID="{28EB149D-D8DF-4095-95AD-485117E893C9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ed"/>
        </a:ext>
      </dgm:extLst>
    </dgm:pt>
    <dgm:pt modelId="{16BFED4A-6DCC-4780-9912-45B628BF6F67}" type="pres">
      <dgm:prSet presAssocID="{28EB149D-D8DF-4095-95AD-485117E893C9}" presName="spaceRect" presStyleCnt="0"/>
      <dgm:spPr/>
    </dgm:pt>
    <dgm:pt modelId="{DD42DCD0-BC53-4E82-B51B-9FF55A4D03CA}" type="pres">
      <dgm:prSet presAssocID="{28EB149D-D8DF-4095-95AD-485117E893C9}" presName="textRect" presStyleLbl="revTx" presStyleIdx="1" presStyleCnt="4">
        <dgm:presLayoutVars>
          <dgm:chMax val="1"/>
          <dgm:chPref val="1"/>
        </dgm:presLayoutVars>
      </dgm:prSet>
      <dgm:spPr/>
    </dgm:pt>
    <dgm:pt modelId="{6FC3F745-0101-4151-BAC2-8F345C8417F4}" type="pres">
      <dgm:prSet presAssocID="{B509AC3E-A792-4D47-A4D4-4AB44D71A3C5}" presName="sibTrans" presStyleCnt="0"/>
      <dgm:spPr/>
    </dgm:pt>
    <dgm:pt modelId="{7A67F23F-45BA-4C4B-B67A-0FC0C09B5D1B}" type="pres">
      <dgm:prSet presAssocID="{0535CE3A-3A2C-4456-97F8-54DAE8FC1DBF}" presName="compNode" presStyleCnt="0"/>
      <dgm:spPr/>
    </dgm:pt>
    <dgm:pt modelId="{B779938E-59CA-4D7E-A7D2-E66C472655A2}" type="pres">
      <dgm:prSet presAssocID="{0535CE3A-3A2C-4456-97F8-54DAE8FC1DBF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Web Design"/>
        </a:ext>
      </dgm:extLst>
    </dgm:pt>
    <dgm:pt modelId="{BC0475B2-50D6-40F9-8823-58FE20651A5E}" type="pres">
      <dgm:prSet presAssocID="{0535CE3A-3A2C-4456-97F8-54DAE8FC1DBF}" presName="spaceRect" presStyleCnt="0"/>
      <dgm:spPr/>
    </dgm:pt>
    <dgm:pt modelId="{65E6E7E5-9EF8-44B9-9A55-BD985594CCA7}" type="pres">
      <dgm:prSet presAssocID="{0535CE3A-3A2C-4456-97F8-54DAE8FC1DBF}" presName="textRect" presStyleLbl="revTx" presStyleIdx="2" presStyleCnt="4">
        <dgm:presLayoutVars>
          <dgm:chMax val="1"/>
          <dgm:chPref val="1"/>
        </dgm:presLayoutVars>
      </dgm:prSet>
      <dgm:spPr/>
    </dgm:pt>
    <dgm:pt modelId="{81903DC8-1D48-44FC-8020-48032D7F353E}" type="pres">
      <dgm:prSet presAssocID="{C737956A-18E5-4C65-9F77-24DDC9F1E7B5}" presName="sibTrans" presStyleCnt="0"/>
      <dgm:spPr/>
    </dgm:pt>
    <dgm:pt modelId="{56759095-3049-4C0C-A631-C4174CDC26E0}" type="pres">
      <dgm:prSet presAssocID="{F073DB9D-193F-40C0-A66A-A8DE52E76A1E}" presName="compNode" presStyleCnt="0"/>
      <dgm:spPr/>
    </dgm:pt>
    <dgm:pt modelId="{38EADAC2-D2D6-4032-B89A-EFC84238C6D5}" type="pres">
      <dgm:prSet presAssocID="{F073DB9D-193F-40C0-A66A-A8DE52E76A1E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lave"/>
        </a:ext>
      </dgm:extLst>
    </dgm:pt>
    <dgm:pt modelId="{A94D4CE8-9095-4CC7-A464-CF138C84611C}" type="pres">
      <dgm:prSet presAssocID="{F073DB9D-193F-40C0-A66A-A8DE52E76A1E}" presName="spaceRect" presStyleCnt="0"/>
      <dgm:spPr/>
    </dgm:pt>
    <dgm:pt modelId="{B416BEC5-B5C5-4034-A535-ED5D914F662E}" type="pres">
      <dgm:prSet presAssocID="{F073DB9D-193F-40C0-A66A-A8DE52E76A1E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31D60F06-36D6-4FD6-B91B-84F45E001127}" srcId="{DA384530-8787-4FE3-A176-A9B9FE8EB5E7}" destId="{0535CE3A-3A2C-4456-97F8-54DAE8FC1DBF}" srcOrd="2" destOrd="0" parTransId="{26F90C20-9F8A-4529-A301-70DB614F13CA}" sibTransId="{C737956A-18E5-4C65-9F77-24DDC9F1E7B5}"/>
    <dgm:cxn modelId="{62DCC864-7B55-41FD-AF7D-4FDCB4B43421}" type="presOf" srcId="{F073DB9D-193F-40C0-A66A-A8DE52E76A1E}" destId="{B416BEC5-B5C5-4034-A535-ED5D914F662E}" srcOrd="0" destOrd="0" presId="urn:microsoft.com/office/officeart/2018/2/layout/IconLabelList"/>
    <dgm:cxn modelId="{02B23353-FD61-4C6A-99F8-6985E2377A11}" type="presOf" srcId="{28EB149D-D8DF-4095-95AD-485117E893C9}" destId="{DD42DCD0-BC53-4E82-B51B-9FF55A4D03CA}" srcOrd="0" destOrd="0" presId="urn:microsoft.com/office/officeart/2018/2/layout/IconLabelList"/>
    <dgm:cxn modelId="{18B97459-F9B1-4C1E-8B6F-0C65BC6A63B8}" type="presOf" srcId="{0535CE3A-3A2C-4456-97F8-54DAE8FC1DBF}" destId="{65E6E7E5-9EF8-44B9-9A55-BD985594CCA7}" srcOrd="0" destOrd="0" presId="urn:microsoft.com/office/officeart/2018/2/layout/IconLabelList"/>
    <dgm:cxn modelId="{69C0A991-D940-4C88-8834-E3AC73AB5F16}" srcId="{DA384530-8787-4FE3-A176-A9B9FE8EB5E7}" destId="{F073DB9D-193F-40C0-A66A-A8DE52E76A1E}" srcOrd="3" destOrd="0" parTransId="{BAB927B5-D7D0-40E9-95DD-19327D229923}" sibTransId="{EEA6B888-90B0-4DE7-8A92-097202D718B7}"/>
    <dgm:cxn modelId="{8B651396-1155-44C2-9281-8ABA6467BBD2}" srcId="{DA384530-8787-4FE3-A176-A9B9FE8EB5E7}" destId="{28EB149D-D8DF-4095-95AD-485117E893C9}" srcOrd="1" destOrd="0" parTransId="{5EFF1867-9532-43A9-BE4A-1AA04E4185C7}" sibTransId="{B509AC3E-A792-4D47-A4D4-4AB44D71A3C5}"/>
    <dgm:cxn modelId="{DDA190AB-7FBA-498D-B69D-93AD4F9054C6}" type="presOf" srcId="{DA384530-8787-4FE3-A176-A9B9FE8EB5E7}" destId="{0C05E45F-7F7A-466C-8367-C9BDFED117D3}" srcOrd="0" destOrd="0" presId="urn:microsoft.com/office/officeart/2018/2/layout/IconLabelList"/>
    <dgm:cxn modelId="{D69CF6C2-145A-4D38-B68F-548426DA1B85}" type="presOf" srcId="{65D53EAE-AAD3-4D1C-95D7-2625EA4555B0}" destId="{5D0C9949-265A-44F1-90CD-19D61D5D3BDA}" srcOrd="0" destOrd="0" presId="urn:microsoft.com/office/officeart/2018/2/layout/IconLabelList"/>
    <dgm:cxn modelId="{117184EA-A3D9-4542-A126-48437F79808D}" srcId="{DA384530-8787-4FE3-A176-A9B9FE8EB5E7}" destId="{65D53EAE-AAD3-4D1C-95D7-2625EA4555B0}" srcOrd="0" destOrd="0" parTransId="{139F5C8C-4D41-4859-BD77-657CA1A63C19}" sibTransId="{3B079913-FCC7-44C7-9480-3E71B37B8C14}"/>
    <dgm:cxn modelId="{77BAE996-5C10-4CFA-B7AD-19A1FA478EFA}" type="presParOf" srcId="{0C05E45F-7F7A-466C-8367-C9BDFED117D3}" destId="{87750A5E-9C10-47A9-BF62-98DE35B3BD97}" srcOrd="0" destOrd="0" presId="urn:microsoft.com/office/officeart/2018/2/layout/IconLabelList"/>
    <dgm:cxn modelId="{E0E2BCAD-1DA7-4AF7-A9DB-BF7EE8D83C6A}" type="presParOf" srcId="{87750A5E-9C10-47A9-BF62-98DE35B3BD97}" destId="{A2FD718F-ED16-4E12-9BD5-8FB558983CE1}" srcOrd="0" destOrd="0" presId="urn:microsoft.com/office/officeart/2018/2/layout/IconLabelList"/>
    <dgm:cxn modelId="{498CB334-7230-4281-9403-84B62315443B}" type="presParOf" srcId="{87750A5E-9C10-47A9-BF62-98DE35B3BD97}" destId="{60D88AE9-07E0-4499-B7AA-265955B8957D}" srcOrd="1" destOrd="0" presId="urn:microsoft.com/office/officeart/2018/2/layout/IconLabelList"/>
    <dgm:cxn modelId="{2B61A405-5AC6-4655-B20C-1A2CC240594D}" type="presParOf" srcId="{87750A5E-9C10-47A9-BF62-98DE35B3BD97}" destId="{5D0C9949-265A-44F1-90CD-19D61D5D3BDA}" srcOrd="2" destOrd="0" presId="urn:microsoft.com/office/officeart/2018/2/layout/IconLabelList"/>
    <dgm:cxn modelId="{AA3E6997-6ACC-48EE-9F09-E44D8BCA117D}" type="presParOf" srcId="{0C05E45F-7F7A-466C-8367-C9BDFED117D3}" destId="{52261F6C-4B4D-4871-84FC-21E0E0928152}" srcOrd="1" destOrd="0" presId="urn:microsoft.com/office/officeart/2018/2/layout/IconLabelList"/>
    <dgm:cxn modelId="{532BD80A-AD93-45C8-84F8-13CC4953A2EC}" type="presParOf" srcId="{0C05E45F-7F7A-466C-8367-C9BDFED117D3}" destId="{3ABCB4F5-054D-4AE4-84A6-66656AB777D5}" srcOrd="2" destOrd="0" presId="urn:microsoft.com/office/officeart/2018/2/layout/IconLabelList"/>
    <dgm:cxn modelId="{1089C170-9508-477C-AB37-724F4E724BFF}" type="presParOf" srcId="{3ABCB4F5-054D-4AE4-84A6-66656AB777D5}" destId="{60672CC6-1E92-402A-9140-1A7E4AD5FA60}" srcOrd="0" destOrd="0" presId="urn:microsoft.com/office/officeart/2018/2/layout/IconLabelList"/>
    <dgm:cxn modelId="{B07244F3-A057-4A9B-9528-256B4733FB6F}" type="presParOf" srcId="{3ABCB4F5-054D-4AE4-84A6-66656AB777D5}" destId="{16BFED4A-6DCC-4780-9912-45B628BF6F67}" srcOrd="1" destOrd="0" presId="urn:microsoft.com/office/officeart/2018/2/layout/IconLabelList"/>
    <dgm:cxn modelId="{DE3EE243-B510-46EB-98C0-36D021791AFD}" type="presParOf" srcId="{3ABCB4F5-054D-4AE4-84A6-66656AB777D5}" destId="{DD42DCD0-BC53-4E82-B51B-9FF55A4D03CA}" srcOrd="2" destOrd="0" presId="urn:microsoft.com/office/officeart/2018/2/layout/IconLabelList"/>
    <dgm:cxn modelId="{11062ADA-7FDF-4EDD-846B-F20F024304D3}" type="presParOf" srcId="{0C05E45F-7F7A-466C-8367-C9BDFED117D3}" destId="{6FC3F745-0101-4151-BAC2-8F345C8417F4}" srcOrd="3" destOrd="0" presId="urn:microsoft.com/office/officeart/2018/2/layout/IconLabelList"/>
    <dgm:cxn modelId="{5E2C7104-9C30-459F-9FD3-C7A524358AD3}" type="presParOf" srcId="{0C05E45F-7F7A-466C-8367-C9BDFED117D3}" destId="{7A67F23F-45BA-4C4B-B67A-0FC0C09B5D1B}" srcOrd="4" destOrd="0" presId="urn:microsoft.com/office/officeart/2018/2/layout/IconLabelList"/>
    <dgm:cxn modelId="{A54DD9A0-30D7-4605-8896-730F3CCFA9E1}" type="presParOf" srcId="{7A67F23F-45BA-4C4B-B67A-0FC0C09B5D1B}" destId="{B779938E-59CA-4D7E-A7D2-E66C472655A2}" srcOrd="0" destOrd="0" presId="urn:microsoft.com/office/officeart/2018/2/layout/IconLabelList"/>
    <dgm:cxn modelId="{074005A7-4FD0-40D8-A407-0A895B3BD121}" type="presParOf" srcId="{7A67F23F-45BA-4C4B-B67A-0FC0C09B5D1B}" destId="{BC0475B2-50D6-40F9-8823-58FE20651A5E}" srcOrd="1" destOrd="0" presId="urn:microsoft.com/office/officeart/2018/2/layout/IconLabelList"/>
    <dgm:cxn modelId="{EFEAB146-7E6F-4CC3-83CD-F9A333AACFDB}" type="presParOf" srcId="{7A67F23F-45BA-4C4B-B67A-0FC0C09B5D1B}" destId="{65E6E7E5-9EF8-44B9-9A55-BD985594CCA7}" srcOrd="2" destOrd="0" presId="urn:microsoft.com/office/officeart/2018/2/layout/IconLabelList"/>
    <dgm:cxn modelId="{088A3926-1CED-4E68-B09A-051DAE591EEA}" type="presParOf" srcId="{0C05E45F-7F7A-466C-8367-C9BDFED117D3}" destId="{81903DC8-1D48-44FC-8020-48032D7F353E}" srcOrd="5" destOrd="0" presId="urn:microsoft.com/office/officeart/2018/2/layout/IconLabelList"/>
    <dgm:cxn modelId="{084D0882-EAC9-441E-AF62-2C8F406EF58A}" type="presParOf" srcId="{0C05E45F-7F7A-466C-8367-C9BDFED117D3}" destId="{56759095-3049-4C0C-A631-C4174CDC26E0}" srcOrd="6" destOrd="0" presId="urn:microsoft.com/office/officeart/2018/2/layout/IconLabelList"/>
    <dgm:cxn modelId="{70F3D243-DCD5-4FDA-BA1A-F24A533A0ECE}" type="presParOf" srcId="{56759095-3049-4C0C-A631-C4174CDC26E0}" destId="{38EADAC2-D2D6-4032-B89A-EFC84238C6D5}" srcOrd="0" destOrd="0" presId="urn:microsoft.com/office/officeart/2018/2/layout/IconLabelList"/>
    <dgm:cxn modelId="{B992ED0F-7716-4852-8E99-B6FAE1E5EBC9}" type="presParOf" srcId="{56759095-3049-4C0C-A631-C4174CDC26E0}" destId="{A94D4CE8-9095-4CC7-A464-CF138C84611C}" srcOrd="1" destOrd="0" presId="urn:microsoft.com/office/officeart/2018/2/layout/IconLabelList"/>
    <dgm:cxn modelId="{46487131-B9C4-41F9-AA03-A16E36BC2CB8}" type="presParOf" srcId="{56759095-3049-4C0C-A631-C4174CDC26E0}" destId="{B416BEC5-B5C5-4034-A535-ED5D914F662E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AB3E241-0968-4530-918F-CD9B14EEB53E}" type="doc">
      <dgm:prSet loTypeId="urn:microsoft.com/office/officeart/2005/8/layout/vList5" loCatId="list" qsTypeId="urn:microsoft.com/office/officeart/2005/8/quickstyle/simple1" qsCatId="simple" csTypeId="urn:microsoft.com/office/officeart/2005/8/colors/colorful5" csCatId="colorful"/>
      <dgm:spPr/>
      <dgm:t>
        <a:bodyPr/>
        <a:lstStyle/>
        <a:p>
          <a:endParaRPr lang="en-US"/>
        </a:p>
      </dgm:t>
    </dgm:pt>
    <dgm:pt modelId="{9682AD88-FC98-48C8-9CBE-01596E6A80D9}">
      <dgm:prSet/>
      <dgm:spPr/>
      <dgm:t>
        <a:bodyPr/>
        <a:lstStyle/>
        <a:p>
          <a:r>
            <a:rPr lang="es-ES"/>
            <a:t>Es una biblioteca de JavaScript que permite interactuar con la blockchain de Ethereum.</a:t>
          </a:r>
          <a:endParaRPr lang="en-US"/>
        </a:p>
      </dgm:t>
    </dgm:pt>
    <dgm:pt modelId="{0C2B9AC6-19AA-4BD4-A473-8D8DC28A7130}" type="parTrans" cxnId="{BF0EDD5C-5F4E-4F6A-929E-8C12B642FC4F}">
      <dgm:prSet/>
      <dgm:spPr/>
      <dgm:t>
        <a:bodyPr/>
        <a:lstStyle/>
        <a:p>
          <a:endParaRPr lang="en-US"/>
        </a:p>
      </dgm:t>
    </dgm:pt>
    <dgm:pt modelId="{60542176-DEC3-4A89-952A-89688CCC5305}" type="sibTrans" cxnId="{BF0EDD5C-5F4E-4F6A-929E-8C12B642FC4F}">
      <dgm:prSet/>
      <dgm:spPr/>
      <dgm:t>
        <a:bodyPr/>
        <a:lstStyle/>
        <a:p>
          <a:endParaRPr lang="en-US"/>
        </a:p>
      </dgm:t>
    </dgm:pt>
    <dgm:pt modelId="{DD4B0BB4-F225-4810-883F-1F1B819F5034}">
      <dgm:prSet/>
      <dgm:spPr/>
      <dgm:t>
        <a:bodyPr/>
        <a:lstStyle/>
        <a:p>
          <a:r>
            <a:rPr lang="es-ES"/>
            <a:t>Facilita la conexión con contratos inteligentes y la realización de transacciones.</a:t>
          </a:r>
          <a:endParaRPr lang="en-US"/>
        </a:p>
      </dgm:t>
    </dgm:pt>
    <dgm:pt modelId="{9A79B30E-2340-43A1-B266-B2F09D3B8447}" type="parTrans" cxnId="{33366377-40F4-4453-902F-B93A678B5664}">
      <dgm:prSet/>
      <dgm:spPr/>
      <dgm:t>
        <a:bodyPr/>
        <a:lstStyle/>
        <a:p>
          <a:endParaRPr lang="en-US"/>
        </a:p>
      </dgm:t>
    </dgm:pt>
    <dgm:pt modelId="{0BAACD79-22A0-4958-93A9-529BA60D998B}" type="sibTrans" cxnId="{33366377-40F4-4453-902F-B93A678B5664}">
      <dgm:prSet/>
      <dgm:spPr/>
      <dgm:t>
        <a:bodyPr/>
        <a:lstStyle/>
        <a:p>
          <a:endParaRPr lang="en-US"/>
        </a:p>
      </dgm:t>
    </dgm:pt>
    <dgm:pt modelId="{AD181046-34A7-46C4-B4CD-97276E580C37}">
      <dgm:prSet/>
      <dgm:spPr/>
      <dgm:t>
        <a:bodyPr/>
        <a:lstStyle/>
        <a:p>
          <a:r>
            <a:rPr lang="es-ES"/>
            <a:t>Proporciona APIs para trabajar con Ethereum.</a:t>
          </a:r>
          <a:endParaRPr lang="en-US"/>
        </a:p>
      </dgm:t>
    </dgm:pt>
    <dgm:pt modelId="{39A2E13E-8B4D-4A2B-93F1-DB128F77D12B}" type="parTrans" cxnId="{75487675-E6F8-4D77-ADA8-2F53E58EFE02}">
      <dgm:prSet/>
      <dgm:spPr/>
      <dgm:t>
        <a:bodyPr/>
        <a:lstStyle/>
        <a:p>
          <a:endParaRPr lang="en-US"/>
        </a:p>
      </dgm:t>
    </dgm:pt>
    <dgm:pt modelId="{6C3ADD66-89EA-4A47-9E0D-8FA4A00258F6}" type="sibTrans" cxnId="{75487675-E6F8-4D77-ADA8-2F53E58EFE02}">
      <dgm:prSet/>
      <dgm:spPr/>
      <dgm:t>
        <a:bodyPr/>
        <a:lstStyle/>
        <a:p>
          <a:endParaRPr lang="en-US"/>
        </a:p>
      </dgm:t>
    </dgm:pt>
    <dgm:pt modelId="{52741E10-C769-4BEA-8052-3F9839957021}" type="pres">
      <dgm:prSet presAssocID="{2AB3E241-0968-4530-918F-CD9B14EEB53E}" presName="Name0" presStyleCnt="0">
        <dgm:presLayoutVars>
          <dgm:dir/>
          <dgm:animLvl val="lvl"/>
          <dgm:resizeHandles val="exact"/>
        </dgm:presLayoutVars>
      </dgm:prSet>
      <dgm:spPr/>
    </dgm:pt>
    <dgm:pt modelId="{B37B4642-5A8A-4918-9CC0-0B287CA414EF}" type="pres">
      <dgm:prSet presAssocID="{9682AD88-FC98-48C8-9CBE-01596E6A80D9}" presName="linNode" presStyleCnt="0"/>
      <dgm:spPr/>
    </dgm:pt>
    <dgm:pt modelId="{F62CDC2D-644E-439F-9538-4CA2A3174361}" type="pres">
      <dgm:prSet presAssocID="{9682AD88-FC98-48C8-9CBE-01596E6A80D9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47C7D93C-B26A-4D35-8B8B-7D8E5D68F5DE}" type="pres">
      <dgm:prSet presAssocID="{60542176-DEC3-4A89-952A-89688CCC5305}" presName="sp" presStyleCnt="0"/>
      <dgm:spPr/>
    </dgm:pt>
    <dgm:pt modelId="{6D031242-EE5F-4752-9BEA-B175296EF73D}" type="pres">
      <dgm:prSet presAssocID="{DD4B0BB4-F225-4810-883F-1F1B819F5034}" presName="linNode" presStyleCnt="0"/>
      <dgm:spPr/>
    </dgm:pt>
    <dgm:pt modelId="{7DCD0CE4-F4B7-4970-B5F9-AAAA612B351F}" type="pres">
      <dgm:prSet presAssocID="{DD4B0BB4-F225-4810-883F-1F1B819F5034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78C43109-96C5-4946-8A3B-7E636F714F42}" type="pres">
      <dgm:prSet presAssocID="{0BAACD79-22A0-4958-93A9-529BA60D998B}" presName="sp" presStyleCnt="0"/>
      <dgm:spPr/>
    </dgm:pt>
    <dgm:pt modelId="{7B98E230-40D1-4174-9B3B-648200522DDC}" type="pres">
      <dgm:prSet presAssocID="{AD181046-34A7-46C4-B4CD-97276E580C37}" presName="linNode" presStyleCnt="0"/>
      <dgm:spPr/>
    </dgm:pt>
    <dgm:pt modelId="{BA859F9C-04A0-4D10-A040-B231D50D5B25}" type="pres">
      <dgm:prSet presAssocID="{AD181046-34A7-46C4-B4CD-97276E580C37}" presName="parentText" presStyleLbl="node1" presStyleIdx="2" presStyleCnt="3">
        <dgm:presLayoutVars>
          <dgm:chMax val="1"/>
          <dgm:bulletEnabled val="1"/>
        </dgm:presLayoutVars>
      </dgm:prSet>
      <dgm:spPr/>
    </dgm:pt>
  </dgm:ptLst>
  <dgm:cxnLst>
    <dgm:cxn modelId="{54EB7736-5884-4001-B9A7-EF31D4AB7D89}" type="presOf" srcId="{DD4B0BB4-F225-4810-883F-1F1B819F5034}" destId="{7DCD0CE4-F4B7-4970-B5F9-AAAA612B351F}" srcOrd="0" destOrd="0" presId="urn:microsoft.com/office/officeart/2005/8/layout/vList5"/>
    <dgm:cxn modelId="{7DDF4138-F3AA-4D28-BD51-5728E869AF81}" type="presOf" srcId="{AD181046-34A7-46C4-B4CD-97276E580C37}" destId="{BA859F9C-04A0-4D10-A040-B231D50D5B25}" srcOrd="0" destOrd="0" presId="urn:microsoft.com/office/officeart/2005/8/layout/vList5"/>
    <dgm:cxn modelId="{38CFD75C-3DA4-4669-B1CF-37615FFB6E65}" type="presOf" srcId="{9682AD88-FC98-48C8-9CBE-01596E6A80D9}" destId="{F62CDC2D-644E-439F-9538-4CA2A3174361}" srcOrd="0" destOrd="0" presId="urn:microsoft.com/office/officeart/2005/8/layout/vList5"/>
    <dgm:cxn modelId="{BF0EDD5C-5F4E-4F6A-929E-8C12B642FC4F}" srcId="{2AB3E241-0968-4530-918F-CD9B14EEB53E}" destId="{9682AD88-FC98-48C8-9CBE-01596E6A80D9}" srcOrd="0" destOrd="0" parTransId="{0C2B9AC6-19AA-4BD4-A473-8D8DC28A7130}" sibTransId="{60542176-DEC3-4A89-952A-89688CCC5305}"/>
    <dgm:cxn modelId="{75487675-E6F8-4D77-ADA8-2F53E58EFE02}" srcId="{2AB3E241-0968-4530-918F-CD9B14EEB53E}" destId="{AD181046-34A7-46C4-B4CD-97276E580C37}" srcOrd="2" destOrd="0" parTransId="{39A2E13E-8B4D-4A2B-93F1-DB128F77D12B}" sibTransId="{6C3ADD66-89EA-4A47-9E0D-8FA4A00258F6}"/>
    <dgm:cxn modelId="{33366377-40F4-4453-902F-B93A678B5664}" srcId="{2AB3E241-0968-4530-918F-CD9B14EEB53E}" destId="{DD4B0BB4-F225-4810-883F-1F1B819F5034}" srcOrd="1" destOrd="0" parTransId="{9A79B30E-2340-43A1-B266-B2F09D3B8447}" sibTransId="{0BAACD79-22A0-4958-93A9-529BA60D998B}"/>
    <dgm:cxn modelId="{1633A77F-9568-4D93-954F-B8DC12E5708B}" type="presOf" srcId="{2AB3E241-0968-4530-918F-CD9B14EEB53E}" destId="{52741E10-C769-4BEA-8052-3F9839957021}" srcOrd="0" destOrd="0" presId="urn:microsoft.com/office/officeart/2005/8/layout/vList5"/>
    <dgm:cxn modelId="{ED203F37-6404-48FE-8D9E-9F411CFD92C9}" type="presParOf" srcId="{52741E10-C769-4BEA-8052-3F9839957021}" destId="{B37B4642-5A8A-4918-9CC0-0B287CA414EF}" srcOrd="0" destOrd="0" presId="urn:microsoft.com/office/officeart/2005/8/layout/vList5"/>
    <dgm:cxn modelId="{339A5D77-5B0B-4BD8-B38C-58FF393B4CDC}" type="presParOf" srcId="{B37B4642-5A8A-4918-9CC0-0B287CA414EF}" destId="{F62CDC2D-644E-439F-9538-4CA2A3174361}" srcOrd="0" destOrd="0" presId="urn:microsoft.com/office/officeart/2005/8/layout/vList5"/>
    <dgm:cxn modelId="{1DB1BBDA-13FD-4319-BF4C-07DD28194367}" type="presParOf" srcId="{52741E10-C769-4BEA-8052-3F9839957021}" destId="{47C7D93C-B26A-4D35-8B8B-7D8E5D68F5DE}" srcOrd="1" destOrd="0" presId="urn:microsoft.com/office/officeart/2005/8/layout/vList5"/>
    <dgm:cxn modelId="{BAC5ADA7-F8F0-4C2F-9FE5-E9C8CBC64E2A}" type="presParOf" srcId="{52741E10-C769-4BEA-8052-3F9839957021}" destId="{6D031242-EE5F-4752-9BEA-B175296EF73D}" srcOrd="2" destOrd="0" presId="urn:microsoft.com/office/officeart/2005/8/layout/vList5"/>
    <dgm:cxn modelId="{1ADFD381-6D06-4770-AA43-CEB60E292E90}" type="presParOf" srcId="{6D031242-EE5F-4752-9BEA-B175296EF73D}" destId="{7DCD0CE4-F4B7-4970-B5F9-AAAA612B351F}" srcOrd="0" destOrd="0" presId="urn:microsoft.com/office/officeart/2005/8/layout/vList5"/>
    <dgm:cxn modelId="{76D7B823-9A9A-42DB-A80A-341F6AC0935F}" type="presParOf" srcId="{52741E10-C769-4BEA-8052-3F9839957021}" destId="{78C43109-96C5-4946-8A3B-7E636F714F42}" srcOrd="3" destOrd="0" presId="urn:microsoft.com/office/officeart/2005/8/layout/vList5"/>
    <dgm:cxn modelId="{BBC54571-D887-4D12-BC99-CCD6DC405CF2}" type="presParOf" srcId="{52741E10-C769-4BEA-8052-3F9839957021}" destId="{7B98E230-40D1-4174-9B3B-648200522DDC}" srcOrd="4" destOrd="0" presId="urn:microsoft.com/office/officeart/2005/8/layout/vList5"/>
    <dgm:cxn modelId="{72D4A792-23DD-4F4B-B1C6-D6744C123D72}" type="presParOf" srcId="{7B98E230-40D1-4174-9B3B-648200522DDC}" destId="{BA859F9C-04A0-4D10-A040-B231D50D5B25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39AEBA6-449D-4698-B7E3-60A725488388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accent1_2" csCatId="accent1" phldr="1"/>
      <dgm:spPr/>
      <dgm:t>
        <a:bodyPr/>
        <a:lstStyle/>
        <a:p>
          <a:endParaRPr lang="en-US"/>
        </a:p>
      </dgm:t>
    </dgm:pt>
    <dgm:pt modelId="{B4AFB73C-79EB-48AC-812B-24FD655A396D}">
      <dgm:prSet/>
      <dgm:spPr/>
      <dgm:t>
        <a:bodyPr/>
        <a:lstStyle/>
        <a:p>
          <a:r>
            <a:rPr lang="es-ES"/>
            <a:t>Gestión de cuentas y claves.</a:t>
          </a:r>
          <a:endParaRPr lang="en-US"/>
        </a:p>
      </dgm:t>
    </dgm:pt>
    <dgm:pt modelId="{CBE958D2-6F4E-4FAD-9AFF-4F4BD2243E98}" type="parTrans" cxnId="{B7681B97-8684-405E-A481-6A6780224FBF}">
      <dgm:prSet/>
      <dgm:spPr/>
      <dgm:t>
        <a:bodyPr/>
        <a:lstStyle/>
        <a:p>
          <a:endParaRPr lang="en-US"/>
        </a:p>
      </dgm:t>
    </dgm:pt>
    <dgm:pt modelId="{D36F3CF5-3E7A-4B21-8EC2-A81605EAE35E}" type="sibTrans" cxnId="{B7681B97-8684-405E-A481-6A6780224FBF}">
      <dgm:prSet/>
      <dgm:spPr/>
      <dgm:t>
        <a:bodyPr/>
        <a:lstStyle/>
        <a:p>
          <a:endParaRPr lang="en-US"/>
        </a:p>
      </dgm:t>
    </dgm:pt>
    <dgm:pt modelId="{C28B5A6A-8896-4AB3-8C8C-83A810AA7D2F}">
      <dgm:prSet/>
      <dgm:spPr/>
      <dgm:t>
        <a:bodyPr/>
        <a:lstStyle/>
        <a:p>
          <a:r>
            <a:rPr lang="es-ES"/>
            <a:t>Interacción con contratos inteligentes (ABI).</a:t>
          </a:r>
          <a:endParaRPr lang="en-US"/>
        </a:p>
      </dgm:t>
    </dgm:pt>
    <dgm:pt modelId="{02453E50-2735-4D77-867D-1EA13A2FF894}" type="parTrans" cxnId="{08C2B1F9-761C-4B38-B1A1-EC9228B779E0}">
      <dgm:prSet/>
      <dgm:spPr/>
      <dgm:t>
        <a:bodyPr/>
        <a:lstStyle/>
        <a:p>
          <a:endParaRPr lang="en-US"/>
        </a:p>
      </dgm:t>
    </dgm:pt>
    <dgm:pt modelId="{A1826702-B6DC-433E-A32E-F0FCEE4008EA}" type="sibTrans" cxnId="{08C2B1F9-761C-4B38-B1A1-EC9228B779E0}">
      <dgm:prSet/>
      <dgm:spPr/>
      <dgm:t>
        <a:bodyPr/>
        <a:lstStyle/>
        <a:p>
          <a:endParaRPr lang="en-US"/>
        </a:p>
      </dgm:t>
    </dgm:pt>
    <dgm:pt modelId="{4EAA27BC-6D8D-4C37-BC7F-CD0E93CF58CE}">
      <dgm:prSet/>
      <dgm:spPr/>
      <dgm:t>
        <a:bodyPr/>
        <a:lstStyle/>
        <a:p>
          <a:r>
            <a:rPr lang="es-ES"/>
            <a:t>Envío de transacciones.</a:t>
          </a:r>
          <a:endParaRPr lang="en-US"/>
        </a:p>
      </dgm:t>
    </dgm:pt>
    <dgm:pt modelId="{6ED1F44C-DF4D-4CA2-9E38-747152267D91}" type="parTrans" cxnId="{2CB682BE-F927-474C-846E-1F3904E53A96}">
      <dgm:prSet/>
      <dgm:spPr/>
      <dgm:t>
        <a:bodyPr/>
        <a:lstStyle/>
        <a:p>
          <a:endParaRPr lang="en-US"/>
        </a:p>
      </dgm:t>
    </dgm:pt>
    <dgm:pt modelId="{B8BD145C-17EA-4238-8E7A-C1BB6AC29B1E}" type="sibTrans" cxnId="{2CB682BE-F927-474C-846E-1F3904E53A96}">
      <dgm:prSet/>
      <dgm:spPr/>
      <dgm:t>
        <a:bodyPr/>
        <a:lstStyle/>
        <a:p>
          <a:endParaRPr lang="en-US"/>
        </a:p>
      </dgm:t>
    </dgm:pt>
    <dgm:pt modelId="{FB20D395-B66A-4F1D-A1B3-D84276C04E2D}">
      <dgm:prSet/>
      <dgm:spPr/>
      <dgm:t>
        <a:bodyPr/>
        <a:lstStyle/>
        <a:p>
          <a:r>
            <a:rPr lang="es-ES"/>
            <a:t>Consultas a la blockchain (saldo, estado de las transacciones).</a:t>
          </a:r>
          <a:endParaRPr lang="en-US"/>
        </a:p>
      </dgm:t>
    </dgm:pt>
    <dgm:pt modelId="{C4D770BB-DC90-4872-BB98-01FFB018F902}" type="parTrans" cxnId="{02CCD40D-DF46-488D-99D0-0C780667E6F6}">
      <dgm:prSet/>
      <dgm:spPr/>
      <dgm:t>
        <a:bodyPr/>
        <a:lstStyle/>
        <a:p>
          <a:endParaRPr lang="en-US"/>
        </a:p>
      </dgm:t>
    </dgm:pt>
    <dgm:pt modelId="{894F4880-99D4-4CFA-AF19-84D378CAF8B7}" type="sibTrans" cxnId="{02CCD40D-DF46-488D-99D0-0C780667E6F6}">
      <dgm:prSet/>
      <dgm:spPr/>
      <dgm:t>
        <a:bodyPr/>
        <a:lstStyle/>
        <a:p>
          <a:endParaRPr lang="en-US"/>
        </a:p>
      </dgm:t>
    </dgm:pt>
    <dgm:pt modelId="{0DE792C8-F362-4C8F-B62D-97D9B8887C35}" type="pres">
      <dgm:prSet presAssocID="{139AEBA6-449D-4698-B7E3-60A725488388}" presName="root" presStyleCnt="0">
        <dgm:presLayoutVars>
          <dgm:dir/>
          <dgm:resizeHandles val="exact"/>
        </dgm:presLayoutVars>
      </dgm:prSet>
      <dgm:spPr/>
    </dgm:pt>
    <dgm:pt modelId="{21F4F883-900A-4A07-A4BE-E47FD7F0680E}" type="pres">
      <dgm:prSet presAssocID="{B4AFB73C-79EB-48AC-812B-24FD655A396D}" presName="compNode" presStyleCnt="0"/>
      <dgm:spPr/>
    </dgm:pt>
    <dgm:pt modelId="{8E3DCF88-8C50-437F-97C1-6DDC93FAB4F8}" type="pres">
      <dgm:prSet presAssocID="{B4AFB73C-79EB-48AC-812B-24FD655A396D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ave"/>
        </a:ext>
      </dgm:extLst>
    </dgm:pt>
    <dgm:pt modelId="{FBFAE1B5-B6F6-4BB9-843F-00374E1B3A79}" type="pres">
      <dgm:prSet presAssocID="{B4AFB73C-79EB-48AC-812B-24FD655A396D}" presName="spaceRect" presStyleCnt="0"/>
      <dgm:spPr/>
    </dgm:pt>
    <dgm:pt modelId="{F645DF5F-ECC3-4284-8C95-9013F849DAC7}" type="pres">
      <dgm:prSet presAssocID="{B4AFB73C-79EB-48AC-812B-24FD655A396D}" presName="textRect" presStyleLbl="revTx" presStyleIdx="0" presStyleCnt="4">
        <dgm:presLayoutVars>
          <dgm:chMax val="1"/>
          <dgm:chPref val="1"/>
        </dgm:presLayoutVars>
      </dgm:prSet>
      <dgm:spPr/>
    </dgm:pt>
    <dgm:pt modelId="{F244EE03-0509-4762-AA4A-3B6A88F87B14}" type="pres">
      <dgm:prSet presAssocID="{D36F3CF5-3E7A-4B21-8EC2-A81605EAE35E}" presName="sibTrans" presStyleCnt="0"/>
      <dgm:spPr/>
    </dgm:pt>
    <dgm:pt modelId="{ABB300D9-3A4C-4688-A690-6DF513C1C41A}" type="pres">
      <dgm:prSet presAssocID="{C28B5A6A-8896-4AB3-8C8C-83A810AA7D2F}" presName="compNode" presStyleCnt="0"/>
      <dgm:spPr/>
    </dgm:pt>
    <dgm:pt modelId="{9CA7C1C1-130D-4504-8A03-7EC89551500B}" type="pres">
      <dgm:prSet presAssocID="{C28B5A6A-8896-4AB3-8C8C-83A810AA7D2F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ocial Network"/>
        </a:ext>
      </dgm:extLst>
    </dgm:pt>
    <dgm:pt modelId="{C250D15A-0B4D-414F-ABA8-DCB46BE75AE0}" type="pres">
      <dgm:prSet presAssocID="{C28B5A6A-8896-4AB3-8C8C-83A810AA7D2F}" presName="spaceRect" presStyleCnt="0"/>
      <dgm:spPr/>
    </dgm:pt>
    <dgm:pt modelId="{EFEF6845-2B0B-4CF6-86E4-360EF6987E06}" type="pres">
      <dgm:prSet presAssocID="{C28B5A6A-8896-4AB3-8C8C-83A810AA7D2F}" presName="textRect" presStyleLbl="revTx" presStyleIdx="1" presStyleCnt="4">
        <dgm:presLayoutVars>
          <dgm:chMax val="1"/>
          <dgm:chPref val="1"/>
        </dgm:presLayoutVars>
      </dgm:prSet>
      <dgm:spPr/>
    </dgm:pt>
    <dgm:pt modelId="{5889E2D7-7205-42E1-B28F-24F55F3666E1}" type="pres">
      <dgm:prSet presAssocID="{A1826702-B6DC-433E-A32E-F0FCEE4008EA}" presName="sibTrans" presStyleCnt="0"/>
      <dgm:spPr/>
    </dgm:pt>
    <dgm:pt modelId="{22241BE1-E454-4F01-B822-4301804176A3}" type="pres">
      <dgm:prSet presAssocID="{4EAA27BC-6D8D-4C37-BC7F-CD0E93CF58CE}" presName="compNode" presStyleCnt="0"/>
      <dgm:spPr/>
    </dgm:pt>
    <dgm:pt modelId="{B908A9EF-B06D-4DC5-AC7F-9A18ECE281D5}" type="pres">
      <dgm:prSet presAssocID="{4EAA27BC-6D8D-4C37-BC7F-CD0E93CF58CE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amión"/>
        </a:ext>
      </dgm:extLst>
    </dgm:pt>
    <dgm:pt modelId="{722C7474-946B-487B-A697-8F448B656B15}" type="pres">
      <dgm:prSet presAssocID="{4EAA27BC-6D8D-4C37-BC7F-CD0E93CF58CE}" presName="spaceRect" presStyleCnt="0"/>
      <dgm:spPr/>
    </dgm:pt>
    <dgm:pt modelId="{9F73F7E5-EF57-46DA-888C-F42415B43A68}" type="pres">
      <dgm:prSet presAssocID="{4EAA27BC-6D8D-4C37-BC7F-CD0E93CF58CE}" presName="textRect" presStyleLbl="revTx" presStyleIdx="2" presStyleCnt="4">
        <dgm:presLayoutVars>
          <dgm:chMax val="1"/>
          <dgm:chPref val="1"/>
        </dgm:presLayoutVars>
      </dgm:prSet>
      <dgm:spPr/>
    </dgm:pt>
    <dgm:pt modelId="{FB38628E-8E08-4C7C-90D0-03B8A83E4797}" type="pres">
      <dgm:prSet presAssocID="{B8BD145C-17EA-4238-8E7A-C1BB6AC29B1E}" presName="sibTrans" presStyleCnt="0"/>
      <dgm:spPr/>
    </dgm:pt>
    <dgm:pt modelId="{1C726F16-DFC9-4370-9810-63D838299C57}" type="pres">
      <dgm:prSet presAssocID="{FB20D395-B66A-4F1D-A1B3-D84276C04E2D}" presName="compNode" presStyleCnt="0"/>
      <dgm:spPr/>
    </dgm:pt>
    <dgm:pt modelId="{190282B2-5917-4422-83D2-A86CF1E6AD2D}" type="pres">
      <dgm:prSet presAssocID="{FB20D395-B66A-4F1D-A1B3-D84276C04E2D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nco"/>
        </a:ext>
      </dgm:extLst>
    </dgm:pt>
    <dgm:pt modelId="{ADBAA21B-42AC-467C-97B6-76830CA0FCF4}" type="pres">
      <dgm:prSet presAssocID="{FB20D395-B66A-4F1D-A1B3-D84276C04E2D}" presName="spaceRect" presStyleCnt="0"/>
      <dgm:spPr/>
    </dgm:pt>
    <dgm:pt modelId="{B60BD794-963D-4E62-B128-9F92CB9D44C0}" type="pres">
      <dgm:prSet presAssocID="{FB20D395-B66A-4F1D-A1B3-D84276C04E2D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02CCD40D-DF46-488D-99D0-0C780667E6F6}" srcId="{139AEBA6-449D-4698-B7E3-60A725488388}" destId="{FB20D395-B66A-4F1D-A1B3-D84276C04E2D}" srcOrd="3" destOrd="0" parTransId="{C4D770BB-DC90-4872-BB98-01FFB018F902}" sibTransId="{894F4880-99D4-4CFA-AF19-84D378CAF8B7}"/>
    <dgm:cxn modelId="{236DF720-FC0B-42F4-847A-FF199C16B03D}" type="presOf" srcId="{B4AFB73C-79EB-48AC-812B-24FD655A396D}" destId="{F645DF5F-ECC3-4284-8C95-9013F849DAC7}" srcOrd="0" destOrd="0" presId="urn:microsoft.com/office/officeart/2018/2/layout/IconLabelList"/>
    <dgm:cxn modelId="{847C8E21-3733-4085-BF3E-BDE12BB06C66}" type="presOf" srcId="{FB20D395-B66A-4F1D-A1B3-D84276C04E2D}" destId="{B60BD794-963D-4E62-B128-9F92CB9D44C0}" srcOrd="0" destOrd="0" presId="urn:microsoft.com/office/officeart/2018/2/layout/IconLabelList"/>
    <dgm:cxn modelId="{B7681B97-8684-405E-A481-6A6780224FBF}" srcId="{139AEBA6-449D-4698-B7E3-60A725488388}" destId="{B4AFB73C-79EB-48AC-812B-24FD655A396D}" srcOrd="0" destOrd="0" parTransId="{CBE958D2-6F4E-4FAD-9AFF-4F4BD2243E98}" sibTransId="{D36F3CF5-3E7A-4B21-8EC2-A81605EAE35E}"/>
    <dgm:cxn modelId="{32BC74AB-5144-47A8-9463-2D3B408D8EB3}" type="presOf" srcId="{C28B5A6A-8896-4AB3-8C8C-83A810AA7D2F}" destId="{EFEF6845-2B0B-4CF6-86E4-360EF6987E06}" srcOrd="0" destOrd="0" presId="urn:microsoft.com/office/officeart/2018/2/layout/IconLabelList"/>
    <dgm:cxn modelId="{A1C433AD-EB72-4248-AB8D-4CFBC77E1EF1}" type="presOf" srcId="{4EAA27BC-6D8D-4C37-BC7F-CD0E93CF58CE}" destId="{9F73F7E5-EF57-46DA-888C-F42415B43A68}" srcOrd="0" destOrd="0" presId="urn:microsoft.com/office/officeart/2018/2/layout/IconLabelList"/>
    <dgm:cxn modelId="{2CB682BE-F927-474C-846E-1F3904E53A96}" srcId="{139AEBA6-449D-4698-B7E3-60A725488388}" destId="{4EAA27BC-6D8D-4C37-BC7F-CD0E93CF58CE}" srcOrd="2" destOrd="0" parTransId="{6ED1F44C-DF4D-4CA2-9E38-747152267D91}" sibTransId="{B8BD145C-17EA-4238-8E7A-C1BB6AC29B1E}"/>
    <dgm:cxn modelId="{61B9B4DF-CAE1-495A-ADA9-2C2C74B6A496}" type="presOf" srcId="{139AEBA6-449D-4698-B7E3-60A725488388}" destId="{0DE792C8-F362-4C8F-B62D-97D9B8887C35}" srcOrd="0" destOrd="0" presId="urn:microsoft.com/office/officeart/2018/2/layout/IconLabelList"/>
    <dgm:cxn modelId="{08C2B1F9-761C-4B38-B1A1-EC9228B779E0}" srcId="{139AEBA6-449D-4698-B7E3-60A725488388}" destId="{C28B5A6A-8896-4AB3-8C8C-83A810AA7D2F}" srcOrd="1" destOrd="0" parTransId="{02453E50-2735-4D77-867D-1EA13A2FF894}" sibTransId="{A1826702-B6DC-433E-A32E-F0FCEE4008EA}"/>
    <dgm:cxn modelId="{44135FB3-9DDB-4F5C-BC64-70204EC1CBD8}" type="presParOf" srcId="{0DE792C8-F362-4C8F-B62D-97D9B8887C35}" destId="{21F4F883-900A-4A07-A4BE-E47FD7F0680E}" srcOrd="0" destOrd="0" presId="urn:microsoft.com/office/officeart/2018/2/layout/IconLabelList"/>
    <dgm:cxn modelId="{86BE4693-1620-418D-801E-2ECBB5D01A8A}" type="presParOf" srcId="{21F4F883-900A-4A07-A4BE-E47FD7F0680E}" destId="{8E3DCF88-8C50-437F-97C1-6DDC93FAB4F8}" srcOrd="0" destOrd="0" presId="urn:microsoft.com/office/officeart/2018/2/layout/IconLabelList"/>
    <dgm:cxn modelId="{2519797F-9D53-424C-9C45-1F48C50DCF93}" type="presParOf" srcId="{21F4F883-900A-4A07-A4BE-E47FD7F0680E}" destId="{FBFAE1B5-B6F6-4BB9-843F-00374E1B3A79}" srcOrd="1" destOrd="0" presId="urn:microsoft.com/office/officeart/2018/2/layout/IconLabelList"/>
    <dgm:cxn modelId="{ACF7C158-66EB-4C98-ADED-962D19F04224}" type="presParOf" srcId="{21F4F883-900A-4A07-A4BE-E47FD7F0680E}" destId="{F645DF5F-ECC3-4284-8C95-9013F849DAC7}" srcOrd="2" destOrd="0" presId="urn:microsoft.com/office/officeart/2018/2/layout/IconLabelList"/>
    <dgm:cxn modelId="{74D958DB-4E62-4105-8CE0-81217960B3E8}" type="presParOf" srcId="{0DE792C8-F362-4C8F-B62D-97D9B8887C35}" destId="{F244EE03-0509-4762-AA4A-3B6A88F87B14}" srcOrd="1" destOrd="0" presId="urn:microsoft.com/office/officeart/2018/2/layout/IconLabelList"/>
    <dgm:cxn modelId="{4AE529F7-92AE-49F3-91C0-546D05FA87A4}" type="presParOf" srcId="{0DE792C8-F362-4C8F-B62D-97D9B8887C35}" destId="{ABB300D9-3A4C-4688-A690-6DF513C1C41A}" srcOrd="2" destOrd="0" presId="urn:microsoft.com/office/officeart/2018/2/layout/IconLabelList"/>
    <dgm:cxn modelId="{ACC5A8BD-01E9-45CC-9F7B-D50E6AA0F4FA}" type="presParOf" srcId="{ABB300D9-3A4C-4688-A690-6DF513C1C41A}" destId="{9CA7C1C1-130D-4504-8A03-7EC89551500B}" srcOrd="0" destOrd="0" presId="urn:microsoft.com/office/officeart/2018/2/layout/IconLabelList"/>
    <dgm:cxn modelId="{0327864F-B09B-4F59-B249-DF99FD5F8449}" type="presParOf" srcId="{ABB300D9-3A4C-4688-A690-6DF513C1C41A}" destId="{C250D15A-0B4D-414F-ABA8-DCB46BE75AE0}" srcOrd="1" destOrd="0" presId="urn:microsoft.com/office/officeart/2018/2/layout/IconLabelList"/>
    <dgm:cxn modelId="{709EAE29-2F18-47BB-B21D-88EB4D6B5F0E}" type="presParOf" srcId="{ABB300D9-3A4C-4688-A690-6DF513C1C41A}" destId="{EFEF6845-2B0B-4CF6-86E4-360EF6987E06}" srcOrd="2" destOrd="0" presId="urn:microsoft.com/office/officeart/2018/2/layout/IconLabelList"/>
    <dgm:cxn modelId="{C09EB131-BE04-467B-8E14-4A6BF31A06EF}" type="presParOf" srcId="{0DE792C8-F362-4C8F-B62D-97D9B8887C35}" destId="{5889E2D7-7205-42E1-B28F-24F55F3666E1}" srcOrd="3" destOrd="0" presId="urn:microsoft.com/office/officeart/2018/2/layout/IconLabelList"/>
    <dgm:cxn modelId="{284CF2E5-252D-47BF-87CB-1EE9CB631B8A}" type="presParOf" srcId="{0DE792C8-F362-4C8F-B62D-97D9B8887C35}" destId="{22241BE1-E454-4F01-B822-4301804176A3}" srcOrd="4" destOrd="0" presId="urn:microsoft.com/office/officeart/2018/2/layout/IconLabelList"/>
    <dgm:cxn modelId="{B1288634-AC32-40F2-9296-361A31BF98C4}" type="presParOf" srcId="{22241BE1-E454-4F01-B822-4301804176A3}" destId="{B908A9EF-B06D-4DC5-AC7F-9A18ECE281D5}" srcOrd="0" destOrd="0" presId="urn:microsoft.com/office/officeart/2018/2/layout/IconLabelList"/>
    <dgm:cxn modelId="{87505DDB-5797-4E43-A37E-AB10C6C094FE}" type="presParOf" srcId="{22241BE1-E454-4F01-B822-4301804176A3}" destId="{722C7474-946B-487B-A697-8F448B656B15}" srcOrd="1" destOrd="0" presId="urn:microsoft.com/office/officeart/2018/2/layout/IconLabelList"/>
    <dgm:cxn modelId="{6368596B-6699-42E9-91E9-8B708C4E5808}" type="presParOf" srcId="{22241BE1-E454-4F01-B822-4301804176A3}" destId="{9F73F7E5-EF57-46DA-888C-F42415B43A68}" srcOrd="2" destOrd="0" presId="urn:microsoft.com/office/officeart/2018/2/layout/IconLabelList"/>
    <dgm:cxn modelId="{3F445957-8794-4C42-91F6-25DE03BC2FCB}" type="presParOf" srcId="{0DE792C8-F362-4C8F-B62D-97D9B8887C35}" destId="{FB38628E-8E08-4C7C-90D0-03B8A83E4797}" srcOrd="5" destOrd="0" presId="urn:microsoft.com/office/officeart/2018/2/layout/IconLabelList"/>
    <dgm:cxn modelId="{A65723E4-2C2E-43BA-843C-FE8CE92429EB}" type="presParOf" srcId="{0DE792C8-F362-4C8F-B62D-97D9B8887C35}" destId="{1C726F16-DFC9-4370-9810-63D838299C57}" srcOrd="6" destOrd="0" presId="urn:microsoft.com/office/officeart/2018/2/layout/IconLabelList"/>
    <dgm:cxn modelId="{1CFF61B3-BF74-4B96-84DF-8BD19C5678EE}" type="presParOf" srcId="{1C726F16-DFC9-4370-9810-63D838299C57}" destId="{190282B2-5917-4422-83D2-A86CF1E6AD2D}" srcOrd="0" destOrd="0" presId="urn:microsoft.com/office/officeart/2018/2/layout/IconLabelList"/>
    <dgm:cxn modelId="{00735613-04E3-461D-89C6-AA28B4C49270}" type="presParOf" srcId="{1C726F16-DFC9-4370-9810-63D838299C57}" destId="{ADBAA21B-42AC-467C-97B6-76830CA0FCF4}" srcOrd="1" destOrd="0" presId="urn:microsoft.com/office/officeart/2018/2/layout/IconLabelList"/>
    <dgm:cxn modelId="{2BD37B5E-F900-4D43-BC9A-AC54753058FB}" type="presParOf" srcId="{1C726F16-DFC9-4370-9810-63D838299C57}" destId="{B60BD794-963D-4E62-B128-9F92CB9D44C0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767E5B3-DEE6-4DF6-965E-5A62680A3111}" type="doc">
      <dgm:prSet loTypeId="urn:microsoft.com/office/officeart/2018/5/layout/IconLeafLabelList" loCatId="icon" qsTypeId="urn:microsoft.com/office/officeart/2005/8/quickstyle/simple1" qsCatId="simple" csTypeId="urn:microsoft.com/office/officeart/2018/5/colors/Iconchunking_coloredtext_colorful1" csCatId="colorful" phldr="1"/>
      <dgm:spPr/>
      <dgm:t>
        <a:bodyPr/>
        <a:lstStyle/>
        <a:p>
          <a:endParaRPr lang="en-US"/>
        </a:p>
      </dgm:t>
    </dgm:pt>
    <dgm:pt modelId="{C16B3015-BB9A-4711-A36A-B64495442001}">
      <dgm:prSet/>
      <dgm:spPr/>
      <dgm:t>
        <a:bodyPr/>
        <a:lstStyle/>
        <a:p>
          <a:pPr>
            <a:defRPr cap="all"/>
          </a:pPr>
          <a:r>
            <a:rPr lang="es-ES"/>
            <a:t>Es una herramienta para crear una blockchain local para pruebas.</a:t>
          </a:r>
          <a:endParaRPr lang="en-US"/>
        </a:p>
      </dgm:t>
    </dgm:pt>
    <dgm:pt modelId="{B61F690C-8404-4DD4-ACFA-78B65C8AE6D1}" type="parTrans" cxnId="{B9531933-8E64-4090-A023-BCED32331A75}">
      <dgm:prSet/>
      <dgm:spPr/>
      <dgm:t>
        <a:bodyPr/>
        <a:lstStyle/>
        <a:p>
          <a:endParaRPr lang="en-US"/>
        </a:p>
      </dgm:t>
    </dgm:pt>
    <dgm:pt modelId="{897B0C1F-B870-482A-AE0E-E489AF60A20C}" type="sibTrans" cxnId="{B9531933-8E64-4090-A023-BCED32331A75}">
      <dgm:prSet/>
      <dgm:spPr/>
      <dgm:t>
        <a:bodyPr/>
        <a:lstStyle/>
        <a:p>
          <a:endParaRPr lang="en-US"/>
        </a:p>
      </dgm:t>
    </dgm:pt>
    <dgm:pt modelId="{4FDDAA08-FB25-4D11-9645-E65A5426F06D}">
      <dgm:prSet/>
      <dgm:spPr/>
      <dgm:t>
        <a:bodyPr/>
        <a:lstStyle/>
        <a:p>
          <a:pPr>
            <a:defRPr cap="all"/>
          </a:pPr>
          <a:r>
            <a:rPr lang="es-ES"/>
            <a:t>Permite desplegar y probar contratos inteligentes en un entorno controlado.</a:t>
          </a:r>
          <a:endParaRPr lang="en-US"/>
        </a:p>
      </dgm:t>
    </dgm:pt>
    <dgm:pt modelId="{57F4F142-EADD-42A1-9D92-9B0FCD0F5E3A}" type="parTrans" cxnId="{64B4B6FB-1F25-43F4-B1FA-907959F2BADE}">
      <dgm:prSet/>
      <dgm:spPr/>
      <dgm:t>
        <a:bodyPr/>
        <a:lstStyle/>
        <a:p>
          <a:endParaRPr lang="en-US"/>
        </a:p>
      </dgm:t>
    </dgm:pt>
    <dgm:pt modelId="{CF4DDCE8-E9E3-42C6-96F4-081DDCB4E1BD}" type="sibTrans" cxnId="{64B4B6FB-1F25-43F4-B1FA-907959F2BADE}">
      <dgm:prSet/>
      <dgm:spPr/>
      <dgm:t>
        <a:bodyPr/>
        <a:lstStyle/>
        <a:p>
          <a:endParaRPr lang="en-US"/>
        </a:p>
      </dgm:t>
    </dgm:pt>
    <dgm:pt modelId="{38772582-EB9B-4A12-80F0-2A31D7E9013E}">
      <dgm:prSet/>
      <dgm:spPr/>
      <dgm:t>
        <a:bodyPr/>
        <a:lstStyle/>
        <a:p>
          <a:pPr>
            <a:defRPr cap="all"/>
          </a:pPr>
          <a:r>
            <a:rPr lang="es-ES"/>
            <a:t>Proporciona una interfaz gráfica para gestionar la blockchain local.</a:t>
          </a:r>
          <a:endParaRPr lang="en-US"/>
        </a:p>
      </dgm:t>
    </dgm:pt>
    <dgm:pt modelId="{9BB43C18-3F2F-4A52-A9CB-6C44453355E4}" type="parTrans" cxnId="{59BCE5A8-5E4A-429D-8F4C-8B068D44EADA}">
      <dgm:prSet/>
      <dgm:spPr/>
      <dgm:t>
        <a:bodyPr/>
        <a:lstStyle/>
        <a:p>
          <a:endParaRPr lang="en-US"/>
        </a:p>
      </dgm:t>
    </dgm:pt>
    <dgm:pt modelId="{865B93D1-2664-4E57-9B9B-848DD6207174}" type="sibTrans" cxnId="{59BCE5A8-5E4A-429D-8F4C-8B068D44EADA}">
      <dgm:prSet/>
      <dgm:spPr/>
      <dgm:t>
        <a:bodyPr/>
        <a:lstStyle/>
        <a:p>
          <a:endParaRPr lang="en-US"/>
        </a:p>
      </dgm:t>
    </dgm:pt>
    <dgm:pt modelId="{809376BB-CE15-4EB5-AE2E-60B6B43DC506}" type="pres">
      <dgm:prSet presAssocID="{F767E5B3-DEE6-4DF6-965E-5A62680A3111}" presName="root" presStyleCnt="0">
        <dgm:presLayoutVars>
          <dgm:dir/>
          <dgm:resizeHandles val="exact"/>
        </dgm:presLayoutVars>
      </dgm:prSet>
      <dgm:spPr/>
    </dgm:pt>
    <dgm:pt modelId="{ABB38FA7-6EA3-42AA-A610-BC9687447223}" type="pres">
      <dgm:prSet presAssocID="{C16B3015-BB9A-4711-A36A-B64495442001}" presName="compNode" presStyleCnt="0"/>
      <dgm:spPr/>
    </dgm:pt>
    <dgm:pt modelId="{01539F47-28F2-4EFE-A412-CBC65608A506}" type="pres">
      <dgm:prSet presAssocID="{C16B3015-BB9A-4711-A36A-B64495442001}" presName="iconBgRect" presStyleLbl="bgShp" presStyleIdx="0" presStyleCnt="3"/>
      <dgm:spPr>
        <a:prstGeom prst="round2DiagRect">
          <a:avLst>
            <a:gd name="adj1" fmla="val 29727"/>
            <a:gd name="adj2" fmla="val 0"/>
          </a:avLst>
        </a:prstGeom>
      </dgm:spPr>
    </dgm:pt>
    <dgm:pt modelId="{E69CF0F1-13E2-422D-B675-2163A95FB249}" type="pres">
      <dgm:prSet presAssocID="{C16B3015-BB9A-4711-A36A-B64495442001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se de datos"/>
        </a:ext>
      </dgm:extLst>
    </dgm:pt>
    <dgm:pt modelId="{5ADDF3FE-9346-4AAF-880C-07D544A895BE}" type="pres">
      <dgm:prSet presAssocID="{C16B3015-BB9A-4711-A36A-B64495442001}" presName="spaceRect" presStyleCnt="0"/>
      <dgm:spPr/>
    </dgm:pt>
    <dgm:pt modelId="{BA5EE219-EC0A-4187-A432-84A4FE5D364E}" type="pres">
      <dgm:prSet presAssocID="{C16B3015-BB9A-4711-A36A-B64495442001}" presName="textRect" presStyleLbl="revTx" presStyleIdx="0" presStyleCnt="3">
        <dgm:presLayoutVars>
          <dgm:chMax val="1"/>
          <dgm:chPref val="1"/>
        </dgm:presLayoutVars>
      </dgm:prSet>
      <dgm:spPr/>
    </dgm:pt>
    <dgm:pt modelId="{A2515D85-DDC5-40B2-96A7-2B4432A61D31}" type="pres">
      <dgm:prSet presAssocID="{897B0C1F-B870-482A-AE0E-E489AF60A20C}" presName="sibTrans" presStyleCnt="0"/>
      <dgm:spPr/>
    </dgm:pt>
    <dgm:pt modelId="{832C8C15-B7B7-4112-AFA3-01EE49C34297}" type="pres">
      <dgm:prSet presAssocID="{4FDDAA08-FB25-4D11-9645-E65A5426F06D}" presName="compNode" presStyleCnt="0"/>
      <dgm:spPr/>
    </dgm:pt>
    <dgm:pt modelId="{8A7A95F2-C629-4B45-9D65-6BA2CFE16398}" type="pres">
      <dgm:prSet presAssocID="{4FDDAA08-FB25-4D11-9645-E65A5426F06D}" presName="iconBgRect" presStyleLbl="bgShp" presStyleIdx="1" presStyleCnt="3"/>
      <dgm:spPr>
        <a:prstGeom prst="round2DiagRect">
          <a:avLst>
            <a:gd name="adj1" fmla="val 29727"/>
            <a:gd name="adj2" fmla="val 0"/>
          </a:avLst>
        </a:prstGeom>
      </dgm:spPr>
    </dgm:pt>
    <dgm:pt modelId="{6131E07C-5E41-416A-93EF-46C5258574F6}" type="pres">
      <dgm:prSet presAssocID="{4FDDAA08-FB25-4D11-9645-E65A5426F06D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E11F2DA8-F570-4B0B-950C-D07D089A78EC}" type="pres">
      <dgm:prSet presAssocID="{4FDDAA08-FB25-4D11-9645-E65A5426F06D}" presName="spaceRect" presStyleCnt="0"/>
      <dgm:spPr/>
    </dgm:pt>
    <dgm:pt modelId="{93E6FDF9-A6A5-4342-8E51-81063F117F5C}" type="pres">
      <dgm:prSet presAssocID="{4FDDAA08-FB25-4D11-9645-E65A5426F06D}" presName="textRect" presStyleLbl="revTx" presStyleIdx="1" presStyleCnt="3">
        <dgm:presLayoutVars>
          <dgm:chMax val="1"/>
          <dgm:chPref val="1"/>
        </dgm:presLayoutVars>
      </dgm:prSet>
      <dgm:spPr/>
    </dgm:pt>
    <dgm:pt modelId="{470735E7-71EE-48E2-8DB6-77843951CF46}" type="pres">
      <dgm:prSet presAssocID="{CF4DDCE8-E9E3-42C6-96F4-081DDCB4E1BD}" presName="sibTrans" presStyleCnt="0"/>
      <dgm:spPr/>
    </dgm:pt>
    <dgm:pt modelId="{77F07B2C-F1C2-4946-9457-8A27C1F2E442}" type="pres">
      <dgm:prSet presAssocID="{38772582-EB9B-4A12-80F0-2A31D7E9013E}" presName="compNode" presStyleCnt="0"/>
      <dgm:spPr/>
    </dgm:pt>
    <dgm:pt modelId="{817676E8-310B-4FFF-AD07-691C9F38F564}" type="pres">
      <dgm:prSet presAssocID="{38772582-EB9B-4A12-80F0-2A31D7E9013E}" presName="iconBgRect" presStyleLbl="bgShp" presStyleIdx="2" presStyleCnt="3"/>
      <dgm:spPr>
        <a:prstGeom prst="round2DiagRect">
          <a:avLst>
            <a:gd name="adj1" fmla="val 29727"/>
            <a:gd name="adj2" fmla="val 0"/>
          </a:avLst>
        </a:prstGeom>
      </dgm:spPr>
    </dgm:pt>
    <dgm:pt modelId="{563129E6-CF3C-4C10-955F-6702E3FBDCCF}" type="pres">
      <dgm:prSet presAssocID="{38772582-EB9B-4A12-80F0-2A31D7E9013E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iagrama de flujo"/>
        </a:ext>
      </dgm:extLst>
    </dgm:pt>
    <dgm:pt modelId="{B5F4CA0F-A950-413C-B729-3FFF88178854}" type="pres">
      <dgm:prSet presAssocID="{38772582-EB9B-4A12-80F0-2A31D7E9013E}" presName="spaceRect" presStyleCnt="0"/>
      <dgm:spPr/>
    </dgm:pt>
    <dgm:pt modelId="{A8451B88-EC6B-4055-BFA3-92A8A3479DEC}" type="pres">
      <dgm:prSet presAssocID="{38772582-EB9B-4A12-80F0-2A31D7E9013E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B9531933-8E64-4090-A023-BCED32331A75}" srcId="{F767E5B3-DEE6-4DF6-965E-5A62680A3111}" destId="{C16B3015-BB9A-4711-A36A-B64495442001}" srcOrd="0" destOrd="0" parTransId="{B61F690C-8404-4DD4-ACFA-78B65C8AE6D1}" sibTransId="{897B0C1F-B870-482A-AE0E-E489AF60A20C}"/>
    <dgm:cxn modelId="{59BCE5A8-5E4A-429D-8F4C-8B068D44EADA}" srcId="{F767E5B3-DEE6-4DF6-965E-5A62680A3111}" destId="{38772582-EB9B-4A12-80F0-2A31D7E9013E}" srcOrd="2" destOrd="0" parTransId="{9BB43C18-3F2F-4A52-A9CB-6C44453355E4}" sibTransId="{865B93D1-2664-4E57-9B9B-848DD6207174}"/>
    <dgm:cxn modelId="{13154BD2-5CE9-48FF-99B0-9E5F0A2FEE68}" type="presOf" srcId="{F767E5B3-DEE6-4DF6-965E-5A62680A3111}" destId="{809376BB-CE15-4EB5-AE2E-60B6B43DC506}" srcOrd="0" destOrd="0" presId="urn:microsoft.com/office/officeart/2018/5/layout/IconLeafLabelList"/>
    <dgm:cxn modelId="{9399B1DA-17C6-4518-91F8-90016B68A2DD}" type="presOf" srcId="{38772582-EB9B-4A12-80F0-2A31D7E9013E}" destId="{A8451B88-EC6B-4055-BFA3-92A8A3479DEC}" srcOrd="0" destOrd="0" presId="urn:microsoft.com/office/officeart/2018/5/layout/IconLeafLabelList"/>
    <dgm:cxn modelId="{1E4553E9-BC0B-461A-B114-F89CC0EFF99E}" type="presOf" srcId="{C16B3015-BB9A-4711-A36A-B64495442001}" destId="{BA5EE219-EC0A-4187-A432-84A4FE5D364E}" srcOrd="0" destOrd="0" presId="urn:microsoft.com/office/officeart/2018/5/layout/IconLeafLabelList"/>
    <dgm:cxn modelId="{2970D8F5-8434-4ED0-A44F-B471AD4E6995}" type="presOf" srcId="{4FDDAA08-FB25-4D11-9645-E65A5426F06D}" destId="{93E6FDF9-A6A5-4342-8E51-81063F117F5C}" srcOrd="0" destOrd="0" presId="urn:microsoft.com/office/officeart/2018/5/layout/IconLeafLabelList"/>
    <dgm:cxn modelId="{64B4B6FB-1F25-43F4-B1FA-907959F2BADE}" srcId="{F767E5B3-DEE6-4DF6-965E-5A62680A3111}" destId="{4FDDAA08-FB25-4D11-9645-E65A5426F06D}" srcOrd="1" destOrd="0" parTransId="{57F4F142-EADD-42A1-9D92-9B0FCD0F5E3A}" sibTransId="{CF4DDCE8-E9E3-42C6-96F4-081DDCB4E1BD}"/>
    <dgm:cxn modelId="{25B8333F-61F9-43C9-BEA1-ABBB2D2BE764}" type="presParOf" srcId="{809376BB-CE15-4EB5-AE2E-60B6B43DC506}" destId="{ABB38FA7-6EA3-42AA-A610-BC9687447223}" srcOrd="0" destOrd="0" presId="urn:microsoft.com/office/officeart/2018/5/layout/IconLeafLabelList"/>
    <dgm:cxn modelId="{6E67D334-A778-4FEF-968F-217540D06CF5}" type="presParOf" srcId="{ABB38FA7-6EA3-42AA-A610-BC9687447223}" destId="{01539F47-28F2-4EFE-A412-CBC65608A506}" srcOrd="0" destOrd="0" presId="urn:microsoft.com/office/officeart/2018/5/layout/IconLeafLabelList"/>
    <dgm:cxn modelId="{627EB24A-E6C5-4258-94C4-9FF330D3A427}" type="presParOf" srcId="{ABB38FA7-6EA3-42AA-A610-BC9687447223}" destId="{E69CF0F1-13E2-422D-B675-2163A95FB249}" srcOrd="1" destOrd="0" presId="urn:microsoft.com/office/officeart/2018/5/layout/IconLeafLabelList"/>
    <dgm:cxn modelId="{A9893FE9-FF81-4CC5-AFE9-2A4032F6D411}" type="presParOf" srcId="{ABB38FA7-6EA3-42AA-A610-BC9687447223}" destId="{5ADDF3FE-9346-4AAF-880C-07D544A895BE}" srcOrd="2" destOrd="0" presId="urn:microsoft.com/office/officeart/2018/5/layout/IconLeafLabelList"/>
    <dgm:cxn modelId="{BF84619E-00FB-4896-A419-8483A085D38F}" type="presParOf" srcId="{ABB38FA7-6EA3-42AA-A610-BC9687447223}" destId="{BA5EE219-EC0A-4187-A432-84A4FE5D364E}" srcOrd="3" destOrd="0" presId="urn:microsoft.com/office/officeart/2018/5/layout/IconLeafLabelList"/>
    <dgm:cxn modelId="{0876610D-765D-4FE9-A994-336356F325ED}" type="presParOf" srcId="{809376BB-CE15-4EB5-AE2E-60B6B43DC506}" destId="{A2515D85-DDC5-40B2-96A7-2B4432A61D31}" srcOrd="1" destOrd="0" presId="urn:microsoft.com/office/officeart/2018/5/layout/IconLeafLabelList"/>
    <dgm:cxn modelId="{0E3977B5-5310-4CE4-A73E-904DC8C70404}" type="presParOf" srcId="{809376BB-CE15-4EB5-AE2E-60B6B43DC506}" destId="{832C8C15-B7B7-4112-AFA3-01EE49C34297}" srcOrd="2" destOrd="0" presId="urn:microsoft.com/office/officeart/2018/5/layout/IconLeafLabelList"/>
    <dgm:cxn modelId="{F4E1C028-3C02-46AA-AC5E-52707B9F3E79}" type="presParOf" srcId="{832C8C15-B7B7-4112-AFA3-01EE49C34297}" destId="{8A7A95F2-C629-4B45-9D65-6BA2CFE16398}" srcOrd="0" destOrd="0" presId="urn:microsoft.com/office/officeart/2018/5/layout/IconLeafLabelList"/>
    <dgm:cxn modelId="{C905862F-7E51-4E46-BE1D-76A24404C7E7}" type="presParOf" srcId="{832C8C15-B7B7-4112-AFA3-01EE49C34297}" destId="{6131E07C-5E41-416A-93EF-46C5258574F6}" srcOrd="1" destOrd="0" presId="urn:microsoft.com/office/officeart/2018/5/layout/IconLeafLabelList"/>
    <dgm:cxn modelId="{BD46A213-B93B-4003-BAF1-81ECE25B265F}" type="presParOf" srcId="{832C8C15-B7B7-4112-AFA3-01EE49C34297}" destId="{E11F2DA8-F570-4B0B-950C-D07D089A78EC}" srcOrd="2" destOrd="0" presId="urn:microsoft.com/office/officeart/2018/5/layout/IconLeafLabelList"/>
    <dgm:cxn modelId="{5957D741-B896-4130-AA69-60F44DAC2C53}" type="presParOf" srcId="{832C8C15-B7B7-4112-AFA3-01EE49C34297}" destId="{93E6FDF9-A6A5-4342-8E51-81063F117F5C}" srcOrd="3" destOrd="0" presId="urn:microsoft.com/office/officeart/2018/5/layout/IconLeafLabelList"/>
    <dgm:cxn modelId="{CE9F6697-17AB-4F83-86B3-AD814D4E01F9}" type="presParOf" srcId="{809376BB-CE15-4EB5-AE2E-60B6B43DC506}" destId="{470735E7-71EE-48E2-8DB6-77843951CF46}" srcOrd="3" destOrd="0" presId="urn:microsoft.com/office/officeart/2018/5/layout/IconLeafLabelList"/>
    <dgm:cxn modelId="{F5869C41-5D13-432D-BA1A-BF7F4E115751}" type="presParOf" srcId="{809376BB-CE15-4EB5-AE2E-60B6B43DC506}" destId="{77F07B2C-F1C2-4946-9457-8A27C1F2E442}" srcOrd="4" destOrd="0" presId="urn:microsoft.com/office/officeart/2018/5/layout/IconLeafLabelList"/>
    <dgm:cxn modelId="{43F7E4EA-2370-48FD-8627-43987C860186}" type="presParOf" srcId="{77F07B2C-F1C2-4946-9457-8A27C1F2E442}" destId="{817676E8-310B-4FFF-AD07-691C9F38F564}" srcOrd="0" destOrd="0" presId="urn:microsoft.com/office/officeart/2018/5/layout/IconLeafLabelList"/>
    <dgm:cxn modelId="{86981F8F-A587-4374-BC27-6C29DD051192}" type="presParOf" srcId="{77F07B2C-F1C2-4946-9457-8A27C1F2E442}" destId="{563129E6-CF3C-4C10-955F-6702E3FBDCCF}" srcOrd="1" destOrd="0" presId="urn:microsoft.com/office/officeart/2018/5/layout/IconLeafLabelList"/>
    <dgm:cxn modelId="{8D26AA4D-19F1-4B02-B328-FF7347995492}" type="presParOf" srcId="{77F07B2C-F1C2-4946-9457-8A27C1F2E442}" destId="{B5F4CA0F-A950-413C-B729-3FFF88178854}" srcOrd="2" destOrd="0" presId="urn:microsoft.com/office/officeart/2018/5/layout/IconLeafLabelList"/>
    <dgm:cxn modelId="{95C32155-72F9-4195-9066-19075D4C6F60}" type="presParOf" srcId="{77F07B2C-F1C2-4946-9457-8A27C1F2E442}" destId="{A8451B88-EC6B-4055-BFA3-92A8A3479DEC}" srcOrd="3" destOrd="0" presId="urn:microsoft.com/office/officeart/2018/5/layout/IconLeaf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5225D4-EDF8-4BC8-86E9-B973B7A21F59}">
      <dsp:nvSpPr>
        <dsp:cNvPr id="0" name=""/>
        <dsp:cNvSpPr/>
      </dsp:nvSpPr>
      <dsp:spPr>
        <a:xfrm>
          <a:off x="3006359" y="591765"/>
          <a:ext cx="45697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6979" y="45720"/>
              </a:lnTo>
            </a:path>
          </a:pathLst>
        </a:custGeom>
        <a:noFill/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222659" y="635047"/>
        <a:ext cx="24378" cy="4875"/>
      </dsp:txXfrm>
    </dsp:sp>
    <dsp:sp modelId="{B2270AB5-584D-432C-951F-CD209D8F6AA7}">
      <dsp:nvSpPr>
        <dsp:cNvPr id="0" name=""/>
        <dsp:cNvSpPr/>
      </dsp:nvSpPr>
      <dsp:spPr>
        <a:xfrm>
          <a:off x="888249" y="1512"/>
          <a:ext cx="2119910" cy="127194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3877" tIns="109038" rIns="103877" bIns="1090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>
              <a:latin typeface="Aptos Display" panose="020F0302020204030204"/>
            </a:rPr>
            <a:t>Ethereum</a:t>
          </a:r>
          <a:endParaRPr lang="en-US" sz="2800" kern="1200"/>
        </a:p>
      </dsp:txBody>
      <dsp:txXfrm>
        <a:off x="888249" y="1512"/>
        <a:ext cx="2119910" cy="1271946"/>
      </dsp:txXfrm>
    </dsp:sp>
    <dsp:sp modelId="{8BEDEE8D-44CF-4A35-9F23-9DAE8D214788}">
      <dsp:nvSpPr>
        <dsp:cNvPr id="0" name=""/>
        <dsp:cNvSpPr/>
      </dsp:nvSpPr>
      <dsp:spPr>
        <a:xfrm>
          <a:off x="5613848" y="591765"/>
          <a:ext cx="45697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6979" y="45720"/>
              </a:lnTo>
            </a:path>
          </a:pathLst>
        </a:custGeom>
        <a:noFill/>
        <a:ln w="6350" cap="flat" cmpd="sng" algn="ctr">
          <a:solidFill>
            <a:schemeClr val="accent4">
              <a:hueOff val="593920"/>
              <a:satOff val="2604"/>
              <a:lumOff val="-784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830148" y="635047"/>
        <a:ext cx="24378" cy="4875"/>
      </dsp:txXfrm>
    </dsp:sp>
    <dsp:sp modelId="{8477F0AA-1528-407C-A988-2C119243A419}">
      <dsp:nvSpPr>
        <dsp:cNvPr id="0" name=""/>
        <dsp:cNvSpPr/>
      </dsp:nvSpPr>
      <dsp:spPr>
        <a:xfrm>
          <a:off x="3495738" y="1512"/>
          <a:ext cx="2119910" cy="1271946"/>
        </a:xfrm>
        <a:prstGeom prst="rect">
          <a:avLst/>
        </a:prstGeom>
        <a:gradFill rotWithShape="0">
          <a:gsLst>
            <a:gs pos="0">
              <a:schemeClr val="accent4">
                <a:hueOff val="475136"/>
                <a:satOff val="2083"/>
                <a:lumOff val="-62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475136"/>
                <a:satOff val="2083"/>
                <a:lumOff val="-62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475136"/>
                <a:satOff val="2083"/>
                <a:lumOff val="-62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3877" tIns="109038" rIns="103877" bIns="1090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 err="1">
              <a:latin typeface="Aptos Display" panose="020F0302020204030204"/>
            </a:rPr>
            <a:t>MetaMask</a:t>
          </a:r>
          <a:endParaRPr lang="en-US" sz="2800" kern="1200" err="1"/>
        </a:p>
      </dsp:txBody>
      <dsp:txXfrm>
        <a:off x="3495738" y="1512"/>
        <a:ext cx="2119910" cy="1271946"/>
      </dsp:txXfrm>
    </dsp:sp>
    <dsp:sp modelId="{CC3D4679-712A-4B0A-919E-E26EDB07301A}">
      <dsp:nvSpPr>
        <dsp:cNvPr id="0" name=""/>
        <dsp:cNvSpPr/>
      </dsp:nvSpPr>
      <dsp:spPr>
        <a:xfrm>
          <a:off x="1948204" y="1271658"/>
          <a:ext cx="5214978" cy="456979"/>
        </a:xfrm>
        <a:custGeom>
          <a:avLst/>
          <a:gdLst/>
          <a:ahLst/>
          <a:cxnLst/>
          <a:rect l="0" t="0" r="0" b="0"/>
          <a:pathLst>
            <a:path>
              <a:moveTo>
                <a:pt x="5214978" y="0"/>
              </a:moveTo>
              <a:lnTo>
                <a:pt x="5214978" y="245589"/>
              </a:lnTo>
              <a:lnTo>
                <a:pt x="0" y="245589"/>
              </a:lnTo>
              <a:lnTo>
                <a:pt x="0" y="456979"/>
              </a:lnTo>
            </a:path>
          </a:pathLst>
        </a:custGeom>
        <a:noFill/>
        <a:ln w="6350" cap="flat" cmpd="sng" algn="ctr">
          <a:solidFill>
            <a:schemeClr val="accent4">
              <a:hueOff val="1187840"/>
              <a:satOff val="5208"/>
              <a:lumOff val="-1569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424750" y="1497710"/>
        <a:ext cx="261886" cy="4875"/>
      </dsp:txXfrm>
    </dsp:sp>
    <dsp:sp modelId="{75B3485F-24C6-449E-89BF-79F7DA69A32A}">
      <dsp:nvSpPr>
        <dsp:cNvPr id="0" name=""/>
        <dsp:cNvSpPr/>
      </dsp:nvSpPr>
      <dsp:spPr>
        <a:xfrm>
          <a:off x="6103227" y="1512"/>
          <a:ext cx="2119910" cy="1271946"/>
        </a:xfrm>
        <a:prstGeom prst="rect">
          <a:avLst/>
        </a:prstGeom>
        <a:gradFill rotWithShape="0">
          <a:gsLst>
            <a:gs pos="0">
              <a:schemeClr val="accent4">
                <a:hueOff val="950272"/>
                <a:satOff val="4167"/>
                <a:lumOff val="-125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950272"/>
                <a:satOff val="4167"/>
                <a:lumOff val="-125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950272"/>
                <a:satOff val="4167"/>
                <a:lumOff val="-125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3877" tIns="109038" rIns="103877" bIns="109038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/>
            <a:t>Web3.</a:t>
          </a:r>
          <a:r>
            <a:rPr lang="es-ES" sz="2800" kern="1200">
              <a:latin typeface="Aptos Display" panose="020F0302020204030204"/>
            </a:rPr>
            <a:t>js</a:t>
          </a:r>
          <a:endParaRPr lang="en-US" sz="2800" kern="1200">
            <a:latin typeface="Aptos Display" panose="020F0302020204030204"/>
          </a:endParaRPr>
        </a:p>
      </dsp:txBody>
      <dsp:txXfrm>
        <a:off x="6103227" y="1512"/>
        <a:ext cx="2119910" cy="1271946"/>
      </dsp:txXfrm>
    </dsp:sp>
    <dsp:sp modelId="{287CB513-5BA9-49BB-8980-A1B6B141C6F3}">
      <dsp:nvSpPr>
        <dsp:cNvPr id="0" name=""/>
        <dsp:cNvSpPr/>
      </dsp:nvSpPr>
      <dsp:spPr>
        <a:xfrm>
          <a:off x="3006359" y="2351291"/>
          <a:ext cx="45697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6979" y="45720"/>
              </a:lnTo>
            </a:path>
          </a:pathLst>
        </a:custGeom>
        <a:noFill/>
        <a:ln w="6350" cap="flat" cmpd="sng" algn="ctr">
          <a:solidFill>
            <a:schemeClr val="accent4">
              <a:hueOff val="1781759"/>
              <a:satOff val="7813"/>
              <a:lumOff val="-2353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500" kern="1200"/>
        </a:p>
      </dsp:txBody>
      <dsp:txXfrm>
        <a:off x="3222659" y="2394573"/>
        <a:ext cx="24378" cy="4875"/>
      </dsp:txXfrm>
    </dsp:sp>
    <dsp:sp modelId="{FEF089D1-FB69-4377-AD55-95BC091C9E61}">
      <dsp:nvSpPr>
        <dsp:cNvPr id="0" name=""/>
        <dsp:cNvSpPr/>
      </dsp:nvSpPr>
      <dsp:spPr>
        <a:xfrm>
          <a:off x="888249" y="1761038"/>
          <a:ext cx="2119910" cy="1271946"/>
        </a:xfrm>
        <a:prstGeom prst="rect">
          <a:avLst/>
        </a:prstGeom>
        <a:gradFill rotWithShape="0">
          <a:gsLst>
            <a:gs pos="0">
              <a:schemeClr val="accent4">
                <a:hueOff val="1425407"/>
                <a:satOff val="6250"/>
                <a:lumOff val="-188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1425407"/>
                <a:satOff val="6250"/>
                <a:lumOff val="-188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1425407"/>
                <a:satOff val="6250"/>
                <a:lumOff val="-188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3877" tIns="109038" rIns="103877" bIns="1090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>
              <a:latin typeface="Aptos Display" panose="020F0302020204030204"/>
            </a:rPr>
            <a:t>Ganache</a:t>
          </a:r>
          <a:endParaRPr lang="es-ES" sz="2800" kern="1200"/>
        </a:p>
      </dsp:txBody>
      <dsp:txXfrm>
        <a:off x="888249" y="1761038"/>
        <a:ext cx="2119910" cy="1271946"/>
      </dsp:txXfrm>
    </dsp:sp>
    <dsp:sp modelId="{37CAF4FB-8C81-45B5-902E-2F2512E3612B}">
      <dsp:nvSpPr>
        <dsp:cNvPr id="0" name=""/>
        <dsp:cNvSpPr/>
      </dsp:nvSpPr>
      <dsp:spPr>
        <a:xfrm>
          <a:off x="5613848" y="2351291"/>
          <a:ext cx="45697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6979" y="45720"/>
              </a:lnTo>
            </a:path>
          </a:pathLst>
        </a:custGeom>
        <a:noFill/>
        <a:ln w="6350" cap="flat" cmpd="sng" algn="ctr">
          <a:solidFill>
            <a:schemeClr val="accent4">
              <a:hueOff val="2375679"/>
              <a:satOff val="10417"/>
              <a:lumOff val="-3138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830148" y="2394573"/>
        <a:ext cx="24378" cy="4875"/>
      </dsp:txXfrm>
    </dsp:sp>
    <dsp:sp modelId="{A02EAA17-04A4-45E4-B26C-D9B532112336}">
      <dsp:nvSpPr>
        <dsp:cNvPr id="0" name=""/>
        <dsp:cNvSpPr/>
      </dsp:nvSpPr>
      <dsp:spPr>
        <a:xfrm>
          <a:off x="3495738" y="1761038"/>
          <a:ext cx="2119910" cy="1271946"/>
        </a:xfrm>
        <a:prstGeom prst="rect">
          <a:avLst/>
        </a:prstGeom>
        <a:gradFill rotWithShape="0">
          <a:gsLst>
            <a:gs pos="0">
              <a:schemeClr val="accent4">
                <a:hueOff val="1900543"/>
                <a:satOff val="8334"/>
                <a:lumOff val="-251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1900543"/>
                <a:satOff val="8334"/>
                <a:lumOff val="-251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1900543"/>
                <a:satOff val="8334"/>
                <a:lumOff val="-251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3877" tIns="109038" rIns="103877" bIns="1090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/>
            <a:t>Ejemplos Prácticos</a:t>
          </a:r>
          <a:endParaRPr lang="en-US" sz="2800" kern="1200"/>
        </a:p>
      </dsp:txBody>
      <dsp:txXfrm>
        <a:off x="3495738" y="1761038"/>
        <a:ext cx="2119910" cy="1271946"/>
      </dsp:txXfrm>
    </dsp:sp>
    <dsp:sp modelId="{A8F29259-E19B-498C-8EB4-F218B32AE5D1}">
      <dsp:nvSpPr>
        <dsp:cNvPr id="0" name=""/>
        <dsp:cNvSpPr/>
      </dsp:nvSpPr>
      <dsp:spPr>
        <a:xfrm>
          <a:off x="6103227" y="1761038"/>
          <a:ext cx="2119910" cy="1271946"/>
        </a:xfrm>
        <a:prstGeom prst="rect">
          <a:avLst/>
        </a:prstGeom>
        <a:gradFill rotWithShape="0">
          <a:gsLst>
            <a:gs pos="0">
              <a:schemeClr val="accent4">
                <a:hueOff val="2375679"/>
                <a:satOff val="10417"/>
                <a:lumOff val="-313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2375679"/>
                <a:satOff val="10417"/>
                <a:lumOff val="-313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2375679"/>
                <a:satOff val="10417"/>
                <a:lumOff val="-313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3877" tIns="109038" rIns="103877" bIns="1090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/>
            <a:t>Conclusiones</a:t>
          </a:r>
          <a:endParaRPr lang="en-US" sz="2800" kern="1200"/>
        </a:p>
      </dsp:txBody>
      <dsp:txXfrm>
        <a:off x="6103227" y="1761038"/>
        <a:ext cx="2119910" cy="12719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89DB7D-2E99-4EBE-A7E6-7E249030A32F}">
      <dsp:nvSpPr>
        <dsp:cNvPr id="0" name=""/>
        <dsp:cNvSpPr/>
      </dsp:nvSpPr>
      <dsp:spPr>
        <a:xfrm>
          <a:off x="0" y="48080"/>
          <a:ext cx="7862978" cy="111384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/>
            <a:t>Es una billetera de criptomonedas y una extensión de navegador.</a:t>
          </a:r>
          <a:endParaRPr lang="en-US" sz="2800" kern="1200"/>
        </a:p>
      </dsp:txBody>
      <dsp:txXfrm>
        <a:off x="54373" y="102453"/>
        <a:ext cx="7754232" cy="1005094"/>
      </dsp:txXfrm>
    </dsp:sp>
    <dsp:sp modelId="{A5A04A11-BC13-461E-B976-65429BA5D3EF}">
      <dsp:nvSpPr>
        <dsp:cNvPr id="0" name=""/>
        <dsp:cNvSpPr/>
      </dsp:nvSpPr>
      <dsp:spPr>
        <a:xfrm>
          <a:off x="0" y="1242560"/>
          <a:ext cx="7862978" cy="1113840"/>
        </a:xfrm>
        <a:prstGeom prst="roundRect">
          <a:avLst/>
        </a:prstGeom>
        <a:solidFill>
          <a:schemeClr val="accent4">
            <a:hueOff val="791893"/>
            <a:satOff val="3472"/>
            <a:lumOff val="-104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/>
            <a:t>Permite a los usuarios interactuar con la blockchain de Ethereum.</a:t>
          </a:r>
          <a:endParaRPr lang="en-US" sz="2800" kern="1200"/>
        </a:p>
      </dsp:txBody>
      <dsp:txXfrm>
        <a:off x="54373" y="1296933"/>
        <a:ext cx="7754232" cy="1005094"/>
      </dsp:txXfrm>
    </dsp:sp>
    <dsp:sp modelId="{868A8B24-BB2B-46C5-80C0-B2ED631CD411}">
      <dsp:nvSpPr>
        <dsp:cNvPr id="0" name=""/>
        <dsp:cNvSpPr/>
      </dsp:nvSpPr>
      <dsp:spPr>
        <a:xfrm>
          <a:off x="0" y="2437040"/>
          <a:ext cx="7862978" cy="1113840"/>
        </a:xfrm>
        <a:prstGeom prst="roundRect">
          <a:avLst/>
        </a:prstGeom>
        <a:solidFill>
          <a:schemeClr val="accent4">
            <a:hueOff val="1583786"/>
            <a:satOff val="6945"/>
            <a:lumOff val="-20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/>
            <a:t>Facilita la gestión de cuentas y claves privadas.</a:t>
          </a:r>
          <a:endParaRPr lang="en-US" sz="2800" kern="1200"/>
        </a:p>
      </dsp:txBody>
      <dsp:txXfrm>
        <a:off x="54373" y="2491413"/>
        <a:ext cx="7754232" cy="1005094"/>
      </dsp:txXfrm>
    </dsp:sp>
    <dsp:sp modelId="{E90B179A-736C-449E-8745-21C69590EC89}">
      <dsp:nvSpPr>
        <dsp:cNvPr id="0" name=""/>
        <dsp:cNvSpPr/>
      </dsp:nvSpPr>
      <dsp:spPr>
        <a:xfrm>
          <a:off x="0" y="3631520"/>
          <a:ext cx="7862978" cy="1113840"/>
        </a:xfrm>
        <a:prstGeom prst="roundRect">
          <a:avLst/>
        </a:prstGeom>
        <a:solidFill>
          <a:schemeClr val="accent4">
            <a:hueOff val="2375679"/>
            <a:satOff val="10417"/>
            <a:lumOff val="-313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kern="1200"/>
            <a:t>Permite la firma de transacciones y la interacción con aplicaciones descentralizadas (dApps).</a:t>
          </a:r>
          <a:endParaRPr lang="en-US" sz="2800" kern="1200"/>
        </a:p>
      </dsp:txBody>
      <dsp:txXfrm>
        <a:off x="54373" y="3685893"/>
        <a:ext cx="7754232" cy="100509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FD718F-ED16-4E12-9BD5-8FB558983CE1}">
      <dsp:nvSpPr>
        <dsp:cNvPr id="0" name=""/>
        <dsp:cNvSpPr/>
      </dsp:nvSpPr>
      <dsp:spPr>
        <a:xfrm>
          <a:off x="1328199" y="270620"/>
          <a:ext cx="772822" cy="77282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0C9949-265A-44F1-90CD-19D61D5D3BDA}">
      <dsp:nvSpPr>
        <dsp:cNvPr id="0" name=""/>
        <dsp:cNvSpPr/>
      </dsp:nvSpPr>
      <dsp:spPr>
        <a:xfrm>
          <a:off x="855919" y="1308679"/>
          <a:ext cx="1717382" cy="6869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/>
            <a:t>Gestión de múltiples cuentas.</a:t>
          </a:r>
          <a:endParaRPr lang="en-US" sz="1400" kern="1200"/>
        </a:p>
      </dsp:txBody>
      <dsp:txXfrm>
        <a:off x="855919" y="1308679"/>
        <a:ext cx="1717382" cy="686953"/>
      </dsp:txXfrm>
    </dsp:sp>
    <dsp:sp modelId="{60672CC6-1E92-402A-9140-1A7E4AD5FA60}">
      <dsp:nvSpPr>
        <dsp:cNvPr id="0" name=""/>
        <dsp:cNvSpPr/>
      </dsp:nvSpPr>
      <dsp:spPr>
        <a:xfrm>
          <a:off x="3346124" y="270620"/>
          <a:ext cx="772822" cy="77282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42DCD0-BC53-4E82-B51B-9FF55A4D03CA}">
      <dsp:nvSpPr>
        <dsp:cNvPr id="0" name=""/>
        <dsp:cNvSpPr/>
      </dsp:nvSpPr>
      <dsp:spPr>
        <a:xfrm>
          <a:off x="2873843" y="1308679"/>
          <a:ext cx="1717382" cy="6869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/>
            <a:t>Conexión a diferentes redes (Mainnet, Testnets).</a:t>
          </a:r>
          <a:endParaRPr lang="en-US" sz="1400" kern="1200"/>
        </a:p>
      </dsp:txBody>
      <dsp:txXfrm>
        <a:off x="2873843" y="1308679"/>
        <a:ext cx="1717382" cy="686953"/>
      </dsp:txXfrm>
    </dsp:sp>
    <dsp:sp modelId="{B779938E-59CA-4D7E-A7D2-E66C472655A2}">
      <dsp:nvSpPr>
        <dsp:cNvPr id="0" name=""/>
        <dsp:cNvSpPr/>
      </dsp:nvSpPr>
      <dsp:spPr>
        <a:xfrm>
          <a:off x="1328199" y="2424977"/>
          <a:ext cx="772822" cy="77282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E6E7E5-9EF8-44B9-9A55-BD985594CCA7}">
      <dsp:nvSpPr>
        <dsp:cNvPr id="0" name=""/>
        <dsp:cNvSpPr/>
      </dsp:nvSpPr>
      <dsp:spPr>
        <a:xfrm>
          <a:off x="855919" y="3463036"/>
          <a:ext cx="1717382" cy="6869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/>
            <a:t>Interfaz de usuario amigable.</a:t>
          </a:r>
          <a:endParaRPr lang="en-US" sz="1400" kern="1200"/>
        </a:p>
      </dsp:txBody>
      <dsp:txXfrm>
        <a:off x="855919" y="3463036"/>
        <a:ext cx="1717382" cy="686953"/>
      </dsp:txXfrm>
    </dsp:sp>
    <dsp:sp modelId="{38EADAC2-D2D6-4032-B89A-EFC84238C6D5}">
      <dsp:nvSpPr>
        <dsp:cNvPr id="0" name=""/>
        <dsp:cNvSpPr/>
      </dsp:nvSpPr>
      <dsp:spPr>
        <a:xfrm>
          <a:off x="3346124" y="2424977"/>
          <a:ext cx="772822" cy="772822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16BEC5-B5C5-4034-A535-ED5D914F662E}">
      <dsp:nvSpPr>
        <dsp:cNvPr id="0" name=""/>
        <dsp:cNvSpPr/>
      </dsp:nvSpPr>
      <dsp:spPr>
        <a:xfrm>
          <a:off x="2873843" y="3463036"/>
          <a:ext cx="1717382" cy="6869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/>
            <a:t>Seguridad: Almacena claves privadas localmente.</a:t>
          </a:r>
          <a:endParaRPr lang="en-US" sz="1400" kern="1200"/>
        </a:p>
      </dsp:txBody>
      <dsp:txXfrm>
        <a:off x="2873843" y="3463036"/>
        <a:ext cx="1717382" cy="68695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2CDC2D-644E-439F-9538-4CA2A3174361}">
      <dsp:nvSpPr>
        <dsp:cNvPr id="0" name=""/>
        <dsp:cNvSpPr/>
      </dsp:nvSpPr>
      <dsp:spPr>
        <a:xfrm>
          <a:off x="3299565" y="1801"/>
          <a:ext cx="3712010" cy="118896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100" kern="1200"/>
            <a:t>Es una biblioteca de JavaScript que permite interactuar con la blockchain de Ethereum.</a:t>
          </a:r>
          <a:endParaRPr lang="en-US" sz="2100" kern="1200"/>
        </a:p>
      </dsp:txBody>
      <dsp:txXfrm>
        <a:off x="3357606" y="59842"/>
        <a:ext cx="3595928" cy="1072886"/>
      </dsp:txXfrm>
    </dsp:sp>
    <dsp:sp modelId="{7DCD0CE4-F4B7-4970-B5F9-AAAA612B351F}">
      <dsp:nvSpPr>
        <dsp:cNvPr id="0" name=""/>
        <dsp:cNvSpPr/>
      </dsp:nvSpPr>
      <dsp:spPr>
        <a:xfrm>
          <a:off x="3299565" y="1250218"/>
          <a:ext cx="3712010" cy="1188968"/>
        </a:xfrm>
        <a:prstGeom prst="roundRect">
          <a:avLst/>
        </a:prstGeom>
        <a:solidFill>
          <a:schemeClr val="accent5">
            <a:hueOff val="1152712"/>
            <a:satOff val="-10349"/>
            <a:lumOff val="-68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100" kern="1200"/>
            <a:t>Facilita la conexión con contratos inteligentes y la realización de transacciones.</a:t>
          </a:r>
          <a:endParaRPr lang="en-US" sz="2100" kern="1200"/>
        </a:p>
      </dsp:txBody>
      <dsp:txXfrm>
        <a:off x="3357606" y="1308259"/>
        <a:ext cx="3595928" cy="1072886"/>
      </dsp:txXfrm>
    </dsp:sp>
    <dsp:sp modelId="{BA859F9C-04A0-4D10-A040-B231D50D5B25}">
      <dsp:nvSpPr>
        <dsp:cNvPr id="0" name=""/>
        <dsp:cNvSpPr/>
      </dsp:nvSpPr>
      <dsp:spPr>
        <a:xfrm>
          <a:off x="3299565" y="2498635"/>
          <a:ext cx="3712010" cy="1188968"/>
        </a:xfrm>
        <a:prstGeom prst="roundRect">
          <a:avLst/>
        </a:prstGeom>
        <a:solidFill>
          <a:schemeClr val="accent5">
            <a:hueOff val="2305423"/>
            <a:satOff val="-20697"/>
            <a:lumOff val="-137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100" kern="1200"/>
            <a:t>Proporciona APIs para trabajar con Ethereum.</a:t>
          </a:r>
          <a:endParaRPr lang="en-US" sz="2100" kern="1200"/>
        </a:p>
      </dsp:txBody>
      <dsp:txXfrm>
        <a:off x="3357606" y="2556676"/>
        <a:ext cx="3595928" cy="107288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3DCF88-8C50-437F-97C1-6DDC93FAB4F8}">
      <dsp:nvSpPr>
        <dsp:cNvPr id="0" name=""/>
        <dsp:cNvSpPr/>
      </dsp:nvSpPr>
      <dsp:spPr>
        <a:xfrm>
          <a:off x="818612" y="1196282"/>
          <a:ext cx="810000" cy="810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645DF5F-ECC3-4284-8C95-9013F849DAC7}">
      <dsp:nvSpPr>
        <dsp:cNvPr id="0" name=""/>
        <dsp:cNvSpPr/>
      </dsp:nvSpPr>
      <dsp:spPr>
        <a:xfrm>
          <a:off x="323612" y="2276522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/>
            <a:t>Gestión de cuentas y claves.</a:t>
          </a:r>
          <a:endParaRPr lang="en-US" sz="1400" kern="1200"/>
        </a:p>
      </dsp:txBody>
      <dsp:txXfrm>
        <a:off x="323612" y="2276522"/>
        <a:ext cx="1800000" cy="720000"/>
      </dsp:txXfrm>
    </dsp:sp>
    <dsp:sp modelId="{9CA7C1C1-130D-4504-8A03-7EC89551500B}">
      <dsp:nvSpPr>
        <dsp:cNvPr id="0" name=""/>
        <dsp:cNvSpPr/>
      </dsp:nvSpPr>
      <dsp:spPr>
        <a:xfrm>
          <a:off x="2933612" y="1196282"/>
          <a:ext cx="810000" cy="810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EF6845-2B0B-4CF6-86E4-360EF6987E06}">
      <dsp:nvSpPr>
        <dsp:cNvPr id="0" name=""/>
        <dsp:cNvSpPr/>
      </dsp:nvSpPr>
      <dsp:spPr>
        <a:xfrm>
          <a:off x="2438612" y="2276522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/>
            <a:t>Interacción con contratos inteligentes (ABI).</a:t>
          </a:r>
          <a:endParaRPr lang="en-US" sz="1400" kern="1200"/>
        </a:p>
      </dsp:txBody>
      <dsp:txXfrm>
        <a:off x="2438612" y="2276522"/>
        <a:ext cx="1800000" cy="720000"/>
      </dsp:txXfrm>
    </dsp:sp>
    <dsp:sp modelId="{B908A9EF-B06D-4DC5-AC7F-9A18ECE281D5}">
      <dsp:nvSpPr>
        <dsp:cNvPr id="0" name=""/>
        <dsp:cNvSpPr/>
      </dsp:nvSpPr>
      <dsp:spPr>
        <a:xfrm>
          <a:off x="5048612" y="1196282"/>
          <a:ext cx="810000" cy="81000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73F7E5-EF57-46DA-888C-F42415B43A68}">
      <dsp:nvSpPr>
        <dsp:cNvPr id="0" name=""/>
        <dsp:cNvSpPr/>
      </dsp:nvSpPr>
      <dsp:spPr>
        <a:xfrm>
          <a:off x="4553612" y="2276522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/>
            <a:t>Envío de transacciones.</a:t>
          </a:r>
          <a:endParaRPr lang="en-US" sz="1400" kern="1200"/>
        </a:p>
      </dsp:txBody>
      <dsp:txXfrm>
        <a:off x="4553612" y="2276522"/>
        <a:ext cx="1800000" cy="720000"/>
      </dsp:txXfrm>
    </dsp:sp>
    <dsp:sp modelId="{190282B2-5917-4422-83D2-A86CF1E6AD2D}">
      <dsp:nvSpPr>
        <dsp:cNvPr id="0" name=""/>
        <dsp:cNvSpPr/>
      </dsp:nvSpPr>
      <dsp:spPr>
        <a:xfrm>
          <a:off x="7163612" y="1196282"/>
          <a:ext cx="810000" cy="81000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0BD794-963D-4E62-B128-9F92CB9D44C0}">
      <dsp:nvSpPr>
        <dsp:cNvPr id="0" name=""/>
        <dsp:cNvSpPr/>
      </dsp:nvSpPr>
      <dsp:spPr>
        <a:xfrm>
          <a:off x="6668612" y="2276522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/>
            <a:t>Consultas a la blockchain (saldo, estado de las transacciones).</a:t>
          </a:r>
          <a:endParaRPr lang="en-US" sz="1400" kern="1200"/>
        </a:p>
      </dsp:txBody>
      <dsp:txXfrm>
        <a:off x="6668612" y="2276522"/>
        <a:ext cx="1800000" cy="7200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539F47-28F2-4EFE-A412-CBC65608A506}">
      <dsp:nvSpPr>
        <dsp:cNvPr id="0" name=""/>
        <dsp:cNvSpPr/>
      </dsp:nvSpPr>
      <dsp:spPr>
        <a:xfrm>
          <a:off x="585447" y="675378"/>
          <a:ext cx="1544062" cy="1544062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9CF0F1-13E2-422D-B675-2163A95FB249}">
      <dsp:nvSpPr>
        <dsp:cNvPr id="0" name=""/>
        <dsp:cNvSpPr/>
      </dsp:nvSpPr>
      <dsp:spPr>
        <a:xfrm>
          <a:off x="914510" y="1004441"/>
          <a:ext cx="885937" cy="88593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5EE219-EC0A-4187-A432-84A4FE5D364E}">
      <dsp:nvSpPr>
        <dsp:cNvPr id="0" name=""/>
        <dsp:cNvSpPr/>
      </dsp:nvSpPr>
      <dsp:spPr>
        <a:xfrm>
          <a:off x="91854" y="2700379"/>
          <a:ext cx="2531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s-ES" sz="1500" kern="1200"/>
            <a:t>Es una herramienta para crear una blockchain local para pruebas.</a:t>
          </a:r>
          <a:endParaRPr lang="en-US" sz="1500" kern="1200"/>
        </a:p>
      </dsp:txBody>
      <dsp:txXfrm>
        <a:off x="91854" y="2700379"/>
        <a:ext cx="2531250" cy="720000"/>
      </dsp:txXfrm>
    </dsp:sp>
    <dsp:sp modelId="{8A7A95F2-C629-4B45-9D65-6BA2CFE16398}">
      <dsp:nvSpPr>
        <dsp:cNvPr id="0" name=""/>
        <dsp:cNvSpPr/>
      </dsp:nvSpPr>
      <dsp:spPr>
        <a:xfrm>
          <a:off x="3559666" y="675378"/>
          <a:ext cx="1544062" cy="1544062"/>
        </a:xfrm>
        <a:prstGeom prst="round2DiagRect">
          <a:avLst>
            <a:gd name="adj1" fmla="val 29727"/>
            <a:gd name="adj2" fmla="val 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31E07C-5E41-416A-93EF-46C5258574F6}">
      <dsp:nvSpPr>
        <dsp:cNvPr id="0" name=""/>
        <dsp:cNvSpPr/>
      </dsp:nvSpPr>
      <dsp:spPr>
        <a:xfrm>
          <a:off x="3888729" y="1004441"/>
          <a:ext cx="885937" cy="88593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E6FDF9-A6A5-4342-8E51-81063F117F5C}">
      <dsp:nvSpPr>
        <dsp:cNvPr id="0" name=""/>
        <dsp:cNvSpPr/>
      </dsp:nvSpPr>
      <dsp:spPr>
        <a:xfrm>
          <a:off x="3066073" y="2700379"/>
          <a:ext cx="2531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s-ES" sz="1500" kern="1200"/>
            <a:t>Permite desplegar y probar contratos inteligentes en un entorno controlado.</a:t>
          </a:r>
          <a:endParaRPr lang="en-US" sz="1500" kern="1200"/>
        </a:p>
      </dsp:txBody>
      <dsp:txXfrm>
        <a:off x="3066073" y="2700379"/>
        <a:ext cx="2531250" cy="720000"/>
      </dsp:txXfrm>
    </dsp:sp>
    <dsp:sp modelId="{817676E8-310B-4FFF-AD07-691C9F38F564}">
      <dsp:nvSpPr>
        <dsp:cNvPr id="0" name=""/>
        <dsp:cNvSpPr/>
      </dsp:nvSpPr>
      <dsp:spPr>
        <a:xfrm>
          <a:off x="6533885" y="675378"/>
          <a:ext cx="1544062" cy="1544062"/>
        </a:xfrm>
        <a:prstGeom prst="round2DiagRect">
          <a:avLst>
            <a:gd name="adj1" fmla="val 29727"/>
            <a:gd name="adj2" fmla="val 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3129E6-CF3C-4C10-955F-6702E3FBDCCF}">
      <dsp:nvSpPr>
        <dsp:cNvPr id="0" name=""/>
        <dsp:cNvSpPr/>
      </dsp:nvSpPr>
      <dsp:spPr>
        <a:xfrm>
          <a:off x="6862948" y="1004441"/>
          <a:ext cx="885937" cy="88593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451B88-EC6B-4055-BFA3-92A8A3479DEC}">
      <dsp:nvSpPr>
        <dsp:cNvPr id="0" name=""/>
        <dsp:cNvSpPr/>
      </dsp:nvSpPr>
      <dsp:spPr>
        <a:xfrm>
          <a:off x="6040291" y="2700379"/>
          <a:ext cx="2531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s-ES" sz="1500" kern="1200"/>
            <a:t>Proporciona una interfaz gráfica para gestionar la blockchain local.</a:t>
          </a:r>
          <a:endParaRPr lang="en-US" sz="1500" kern="1200"/>
        </a:p>
      </dsp:txBody>
      <dsp:txXfrm>
        <a:off x="6040291" y="2700379"/>
        <a:ext cx="2531250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RepeatingBendingProcessNew">
  <dgm:title val="Repeating Bending Process New"/>
  <dgm:desc val=""/>
  <dgm:catLst>
    <dgm:cat type="process" pri="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  <dgm:constr type="tMarg" refType="h" fact="0.243"/>
          <dgm:constr type="bMarg" refType="h" fact="0.243"/>
          <dgm:constr type="lMarg" refType="w" fact="0.1389"/>
          <dgm:constr type="rMarg" refType="w" fact="0.1389"/>
        </dgm:constrLst>
        <dgm:ruleLst>
          <dgm:rule type="primFontSz" val="12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8/5/layout/IconLeafLabelList">
  <dgm:title val="Icon Leaf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round2DiagRect" r:blip="">
            <dgm:adjLst/>
            <dgm:extLst>
              <a:ext uri="{B698B0E9-8C71-41B9-8309-B3DCBF30829C}">
                <dgm1612:spPr xmlns:dgm1612="http://schemas.microsoft.com/office/drawing/2016/12/diagram">
                  <a:prstGeom prst="round2DiagRect">
                    <a:avLst>
                      <a:gd name="adj1" fmla="val 29727"/>
                      <a:gd name="adj2" fmla="val 0"/>
                    </a:avLst>
                  </a:prstGeom>
                </dgm1612:spPr>
              </a:ext>
            </dgm:ext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>
              <a:latin typeface="Arial" panose="020B0604020202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Arial" panose="020B0604020202020204" pitchFamily="34" charset="0"/>
              </a:rPr>
              <a:t>14/10/2024</a:t>
            </a:fld>
            <a:endParaRPr lang="es-ES">
              <a:latin typeface="Arial" panose="020B0604020202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>
              <a:latin typeface="Arial" panose="020B0604020202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Arial" panose="020B0604020202020204" pitchFamily="34" charset="0"/>
              </a:rPr>
              <a:t>‹#›</a:t>
            </a:fld>
            <a:endParaRPr lang="es-E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14/10/2024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387" rtl="0" eaLnBrk="1" latinLnBrk="0" hangingPunct="1">
      <a:defRPr sz="1599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194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2pPr>
    <a:lvl3pPr marL="1218387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3pPr>
    <a:lvl4pPr marL="1827581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4pPr>
    <a:lvl5pPr marL="2436774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5pPr>
    <a:lvl6pPr marL="3045968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6pPr>
    <a:lvl7pPr marL="3655161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7pPr>
    <a:lvl8pPr marL="4264355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8pPr>
    <a:lvl9pPr marL="4873548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Relationship Id="rId9" Type="http://schemas.microsoft.com/office/2007/relationships/hdphoto" Target="../media/hdphoto2.wdp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5" y="4414946"/>
            <a:ext cx="4238625" cy="2904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799">
                <a:latin typeface="Arial" panose="020B0604020202020204" pitchFamily="34" charset="0"/>
              </a:defRPr>
            </a:lvl1pPr>
          </a:lstStyle>
          <a:p>
            <a:r>
              <a:rPr lang="es-ES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0" y="2428712"/>
            <a:ext cx="4733059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</a:t>
            </a:r>
            <a:br>
              <a:rPr lang="es-ES"/>
            </a:br>
            <a:r>
              <a:rPr lang="es-ES"/>
              <a:t>el título principal</a:t>
            </a:r>
            <a:endParaRPr lang="en-US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5" y="4853112"/>
            <a:ext cx="4238625" cy="199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latin typeface="Arial" panose="020B0604020202020204" pitchFamily="34" charset="0"/>
              </a:defRPr>
            </a:lvl1pPr>
          </a:lstStyle>
          <a:p>
            <a:r>
              <a:rPr lang="es-ES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9" y="986386"/>
            <a:ext cx="1349375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2">
                <a:latin typeface="Arial" panose="020B0604020202020204" pitchFamily="34" charset="0"/>
              </a:defRPr>
            </a:lvl1pPr>
          </a:lstStyle>
          <a:p>
            <a:r>
              <a:rPr lang="es-ES"/>
              <a:t>Logo cliente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61" y="6093296"/>
            <a:ext cx="1618943" cy="354535"/>
          </a:xfrm>
          <a:prstGeom prst="rect">
            <a:avLst/>
          </a:prstGeom>
        </p:spPr>
      </p:pic>
      <p:grpSp>
        <p:nvGrpSpPr>
          <p:cNvPr id="11" name="Grupo 10">
            <a:extLst>
              <a:ext uri="{FF2B5EF4-FFF2-40B4-BE49-F238E27FC236}">
                <a16:creationId xmlns:a16="http://schemas.microsoft.com/office/drawing/2014/main" id="{72D46510-3BCB-3746-AD05-84A58DE8C86D}"/>
              </a:ext>
            </a:extLst>
          </p:cNvPr>
          <p:cNvGrpSpPr/>
          <p:nvPr userDrawn="1"/>
        </p:nvGrpSpPr>
        <p:grpSpPr>
          <a:xfrm>
            <a:off x="5350807" y="1979910"/>
            <a:ext cx="1507050" cy="2725443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2" name="Rectángulo 6">
              <a:extLst>
                <a:ext uri="{FF2B5EF4-FFF2-40B4-BE49-F238E27FC236}">
                  <a16:creationId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EB2B45F2-8D32-A344-93BE-979FC74FCFB7}"/>
              </a:ext>
            </a:extLst>
          </p:cNvPr>
          <p:cNvGrpSpPr/>
          <p:nvPr userDrawn="1"/>
        </p:nvGrpSpPr>
        <p:grpSpPr>
          <a:xfrm>
            <a:off x="6332113" y="1979910"/>
            <a:ext cx="1507050" cy="2725443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7" name="Rectángulo 6">
              <a:extLst>
                <a:ext uri="{FF2B5EF4-FFF2-40B4-BE49-F238E27FC236}">
                  <a16:creationId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C733D58C-D2A1-9040-B07D-82C6EAEF6E32}"/>
              </a:ext>
            </a:extLst>
          </p:cNvPr>
          <p:cNvGrpSpPr/>
          <p:nvPr userDrawn="1"/>
        </p:nvGrpSpPr>
        <p:grpSpPr>
          <a:xfrm>
            <a:off x="7313422" y="1979910"/>
            <a:ext cx="1507050" cy="2725443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2" name="Rectángulo 6">
              <a:extLst>
                <a:ext uri="{FF2B5EF4-FFF2-40B4-BE49-F238E27FC236}">
                  <a16:creationId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pic>
        <p:nvPicPr>
          <p:cNvPr id="2" name="Imagen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9183" y="6119829"/>
            <a:ext cx="1388067" cy="32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40642"/>
            <a:ext cx="358902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2" y="1592934"/>
            <a:ext cx="528945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85" y="1503255"/>
            <a:ext cx="2800985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4794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40642"/>
            <a:ext cx="358902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2" y="1592934"/>
            <a:ext cx="528945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85" y="1503255"/>
            <a:ext cx="2800985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6157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40642"/>
            <a:ext cx="358902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2" y="1592934"/>
            <a:ext cx="528945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85" y="1503255"/>
            <a:ext cx="2800985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7049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104" y="3190476"/>
            <a:ext cx="2879375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6001" y="3533848"/>
            <a:ext cx="4838525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3750373"/>
            <a:ext cx="357378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1" y="1592934"/>
            <a:ext cx="566537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4225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104" y="3190476"/>
            <a:ext cx="2879375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6001" y="3533848"/>
            <a:ext cx="4838525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3750373"/>
            <a:ext cx="357378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1" y="1592934"/>
            <a:ext cx="566537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7774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104" y="3190476"/>
            <a:ext cx="2879375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6001" y="3533848"/>
            <a:ext cx="4838525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3750373"/>
            <a:ext cx="357378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1" y="1592934"/>
            <a:ext cx="566537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3125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104" y="3190476"/>
            <a:ext cx="2879375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6001" y="3533848"/>
            <a:ext cx="4838525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3750373"/>
            <a:ext cx="357378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1" y="1592934"/>
            <a:ext cx="511419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6948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104" y="3190476"/>
            <a:ext cx="2879375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6001" y="3533848"/>
            <a:ext cx="4838525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3750373"/>
            <a:ext cx="357378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1" y="1592934"/>
            <a:ext cx="566537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3900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104" y="3190476"/>
            <a:ext cx="2879375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6001" y="3533848"/>
            <a:ext cx="4838525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3750373"/>
            <a:ext cx="357378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1" y="1592934"/>
            <a:ext cx="566537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0893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104" y="3190476"/>
            <a:ext cx="2879375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6001" y="3533848"/>
            <a:ext cx="4838525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3750373"/>
            <a:ext cx="357378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1" y="1592934"/>
            <a:ext cx="566537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8536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 userDrawn="1"/>
        </p:nvSpPr>
        <p:spPr>
          <a:xfrm>
            <a:off x="1073217" y="832209"/>
            <a:ext cx="6997565" cy="5111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Aft>
                <a:spcPts val="1050"/>
              </a:spcAft>
            </a:pPr>
            <a:r>
              <a:rPr lang="es-ES" sz="1200">
                <a:solidFill>
                  <a:srgbClr val="646E78"/>
                </a:solidFill>
                <a:latin typeface="Arial" panose="020B0604020202020204" pitchFamily="34" charset="0"/>
              </a:rPr>
              <a:t>Toda la información contenida en el presente documento y sus anexos, tiene carácter confidencial, y sólo puede ser utilizada con el fin de ser evaluada por el destinatario (sea cliente, proveedor, colaborador, partner, etc.) de la misma y a los solos efectos de conducir los tratos comerciales, o de otra naturaleza, que motivan el envío del documento (en lo sucesivo, el “Propósito”).</a:t>
            </a:r>
          </a:p>
          <a:p>
            <a:pPr>
              <a:lnSpc>
                <a:spcPct val="100000"/>
              </a:lnSpc>
              <a:spcAft>
                <a:spcPts val="1050"/>
              </a:spcAft>
            </a:pPr>
            <a:r>
              <a:rPr lang="es-ES" sz="1200">
                <a:solidFill>
                  <a:srgbClr val="646E78"/>
                </a:solidFill>
                <a:latin typeface="Arial" panose="020B0604020202020204" pitchFamily="34" charset="0"/>
              </a:rPr>
              <a:t>La información aquí presentada es propiedad de Ia sociedad del grupo controlado por Indra Holding TI, S.L.U.  que suscribe el presente documento (en lo sucesivo, “Minsait”), y es constitutiva de secreto empresarial (también denominado en determinadas jurisdicciones, secreto comercial), y además, puede estar protegida por derechos de autor, derechos afines, patente, modelo de utilidad y/o diseño industrial por lo que queda terminantemente prohibida su divulgación y/o transmisión a terceros sin el permiso previo, expreso y por escrito de Minsait.</a:t>
            </a:r>
          </a:p>
          <a:p>
            <a:pPr>
              <a:lnSpc>
                <a:spcPct val="100000"/>
              </a:lnSpc>
              <a:spcAft>
                <a:spcPts val="1050"/>
              </a:spcAft>
            </a:pPr>
            <a:r>
              <a:rPr lang="es-ES" sz="1200">
                <a:solidFill>
                  <a:srgbClr val="646E78"/>
                </a:solidFill>
                <a:latin typeface="Arial" panose="020B0604020202020204" pitchFamily="34" charset="0"/>
              </a:rPr>
              <a:t>Se limitará al máximo el acceso a la información confidencial por parte del personal del destinatario de la misma, o del personal de aquellos terceros a los que Minsait haya autorizado a acceder a la información confidencial, limitándose únicamente a aquellas personas cuyo acceso resulte estrictamente necesario, y debiendo el destinatario de la información confidencial garantizar que informa a dichas personas del carácter confidencial y propietario de la información así como del Propósito, asegurando que dicho personal trata la información confidencial única y exclusivamente para el Propósito, y absteniéndose de toda divulgación. Una vez finalizado o concluido el Propósito, el cliente debe restituir a Minsait toda la información confidencial sin conservar ninguna copia de la misma, no pudiendo utilizar de ninguna manera, ni para ningún fin la información confidencial y/o propietaria facilitada por Minsait salvo que haya sido autorizado para ello previa y expresamente por escrito por Minsait.</a:t>
            </a:r>
          </a:p>
          <a:p>
            <a:pPr>
              <a:lnSpc>
                <a:spcPct val="100000"/>
              </a:lnSpc>
              <a:spcAft>
                <a:spcPts val="1050"/>
              </a:spcAft>
            </a:pPr>
            <a:r>
              <a:rPr lang="es-ES" sz="1200">
                <a:solidFill>
                  <a:srgbClr val="646E78"/>
                </a:solidFill>
                <a:latin typeface="Arial" panose="020B0604020202020204" pitchFamily="34" charset="0"/>
              </a:rPr>
              <a:t>El destinatario de la información confidencial, después de finalizado el Propósito, no podrá utilizar de ninguna manera ni para ningún fin la información confidencial y/o propietaria facilitada por Minsait.</a:t>
            </a:r>
          </a:p>
          <a:p>
            <a:pPr>
              <a:lnSpc>
                <a:spcPct val="100000"/>
              </a:lnSpc>
              <a:spcAft>
                <a:spcPts val="1050"/>
              </a:spcAft>
            </a:pPr>
            <a:r>
              <a:rPr lang="es-ES" sz="1200">
                <a:solidFill>
                  <a:srgbClr val="646E78"/>
                </a:solidFill>
                <a:latin typeface="Arial" panose="020B0604020202020204" pitchFamily="34" charset="0"/>
              </a:rPr>
              <a:t>Copyright © 202</a:t>
            </a:r>
            <a:r>
              <a:rPr lang="es-ES" sz="1200" baseline="0">
                <a:solidFill>
                  <a:srgbClr val="646E78"/>
                </a:solidFill>
                <a:latin typeface="Arial" panose="020B0604020202020204" pitchFamily="34" charset="0"/>
              </a:rPr>
              <a:t>  </a:t>
            </a:r>
            <a:r>
              <a:rPr lang="es-ES" sz="1200">
                <a:solidFill>
                  <a:srgbClr val="646E78"/>
                </a:solidFill>
                <a:latin typeface="Arial" panose="020B0604020202020204" pitchFamily="34" charset="0"/>
              </a:rPr>
              <a:t> Minsait. Todos los derechos reservados. España</a:t>
            </a:r>
          </a:p>
          <a:p>
            <a:pPr>
              <a:lnSpc>
                <a:spcPct val="100000"/>
              </a:lnSpc>
              <a:spcAft>
                <a:spcPts val="1050"/>
              </a:spcAft>
            </a:pPr>
            <a:endParaRPr lang="es-ES" sz="1200">
              <a:solidFill>
                <a:srgbClr val="646E78"/>
              </a:solidFill>
              <a:latin typeface="Arial" panose="020B0604020202020204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  <p:sp>
        <p:nvSpPr>
          <p:cNvPr id="5" name="Marcador de texto 12"/>
          <p:cNvSpPr>
            <a:spLocks noGrp="1"/>
          </p:cNvSpPr>
          <p:nvPr>
            <p:ph type="body" sz="quarter" idx="12" hasCustomPrompt="1"/>
          </p:nvPr>
        </p:nvSpPr>
        <p:spPr>
          <a:xfrm>
            <a:off x="2175524" y="5598000"/>
            <a:ext cx="102592" cy="184666"/>
          </a:xfrm>
          <a:prstGeom prst="rect">
            <a:avLst/>
          </a:prstGeom>
          <a:noFill/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rgbClr val="646E7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85786" indent="0">
              <a:buNone/>
              <a:defRPr/>
            </a:lvl2pPr>
            <a:lvl3pPr marL="771572" indent="0">
              <a:buNone/>
              <a:defRPr/>
            </a:lvl3pPr>
            <a:lvl4pPr marL="1157356" indent="0">
              <a:buNone/>
              <a:defRPr/>
            </a:lvl4pPr>
            <a:lvl5pPr marL="1543142" indent="0">
              <a:buNone/>
              <a:defRPr/>
            </a:lvl5pPr>
          </a:lstStyle>
          <a:p>
            <a:pPr lvl="0"/>
            <a:r>
              <a:rPr lang="es-ES"/>
              <a:t>X</a:t>
            </a:r>
          </a:p>
        </p:txBody>
      </p:sp>
      <p:sp>
        <p:nvSpPr>
          <p:cNvPr id="6" name="Marcador de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1441394" y="5871393"/>
            <a:ext cx="5935300" cy="154604"/>
          </a:xfrm>
          <a:prstGeom prst="rect">
            <a:avLst/>
          </a:prstGeom>
          <a:noFill/>
        </p:spPr>
        <p:txBody>
          <a:bodyPr lIns="720000" tIns="0" rIns="93600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85786" indent="0">
              <a:buNone/>
              <a:defRPr/>
            </a:lvl2pPr>
            <a:lvl3pPr marL="771572" indent="0">
              <a:buNone/>
              <a:defRPr/>
            </a:lvl3pPr>
            <a:lvl4pPr marL="1157356" indent="0">
              <a:buNone/>
              <a:defRPr/>
            </a:lvl4pPr>
            <a:lvl5pPr marL="1543142" indent="0">
              <a:buNone/>
              <a:defRPr/>
            </a:lvl5pPr>
          </a:lstStyle>
          <a:p>
            <a:pPr lvl="0"/>
            <a:r>
              <a:rPr lang="es-ES"/>
              <a:t>X: Añade el año en curso correspondiente y borra esta leyenda</a:t>
            </a:r>
          </a:p>
        </p:txBody>
      </p:sp>
    </p:spTree>
    <p:extLst>
      <p:ext uri="{BB962C8B-B14F-4D97-AF65-F5344CB8AC3E}">
        <p14:creationId xmlns:p14="http://schemas.microsoft.com/office/powerpoint/2010/main" val="22396995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104" y="3190476"/>
            <a:ext cx="2879375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6001" y="3533848"/>
            <a:ext cx="4838525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3750373"/>
            <a:ext cx="357378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1" y="1592934"/>
            <a:ext cx="566537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2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4499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60" y="725409"/>
            <a:ext cx="7106825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7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221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60" y="725409"/>
            <a:ext cx="7106825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7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067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ES" sz="1067" b="0" i="0" u="none" strike="noStrike" kern="1200" cap="none" spc="0" normalizeH="0" baseline="0" noProof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959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60" y="725409"/>
            <a:ext cx="7106825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7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47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60" y="716509"/>
            <a:ext cx="7106825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7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067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ES" sz="1067" b="0" i="0" u="none" strike="noStrike" kern="1200" cap="none" spc="0" normalizeH="0" baseline="0" noProof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843" y="6557963"/>
            <a:ext cx="1074901" cy="24839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401" y="66002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67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60" y="716513"/>
            <a:ext cx="7106825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7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26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60" y="716509"/>
            <a:ext cx="7106825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7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1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60" y="716509"/>
            <a:ext cx="7106825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7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323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60" y="716513"/>
            <a:ext cx="7106825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7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23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3252540"/>
              </p:ext>
            </p:ext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60" y="716509"/>
            <a:ext cx="7106825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7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un texto destacado o una idea principal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121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645600"/>
            <a:ext cx="8263350" cy="863601"/>
          </a:xfrm>
          <a:prstGeom prst="rect">
            <a:avLst/>
          </a:prstGeom>
        </p:spPr>
        <p:txBody>
          <a:bodyPr lIns="0" tIns="0" rIns="0" bIns="0"/>
          <a:lstStyle>
            <a:lvl1pPr>
              <a:defRPr sz="2799">
                <a:latin typeface="Georgia" panose="02040502050405020303" pitchFamily="18" charset="0"/>
              </a:defRPr>
            </a:lvl1pPr>
          </a:lstStyle>
          <a:p>
            <a:r>
              <a:rPr lang="es-ES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3246189" y="2232949"/>
            <a:ext cx="5954590" cy="475759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097274" y="894269"/>
            <a:ext cx="5967116" cy="609627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69215" y="20026"/>
            <a:ext cx="6194595" cy="6970525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2444770"/>
            <a:ext cx="4320000" cy="35771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Capí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111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716723"/>
              </p:ext>
            </p:ext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649108"/>
            <a:ext cx="8639588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357000"/>
            <a:ext cx="8639588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6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6242403"/>
            <a:ext cx="1403648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649108"/>
            <a:ext cx="8639588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357000"/>
            <a:ext cx="8639588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6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6242403"/>
            <a:ext cx="1403648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5054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7738736"/>
              </p:ext>
            </p:ext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8" y="649108"/>
            <a:ext cx="8641175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9" y="357000"/>
            <a:ext cx="8641175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6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6242403"/>
            <a:ext cx="1403648" cy="642611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1629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8" y="649108"/>
            <a:ext cx="8641175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9" y="357000"/>
            <a:ext cx="8641175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6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3" y="6242403"/>
            <a:ext cx="1403648" cy="642611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4617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088129"/>
              </p:ext>
            </p:ext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649108"/>
            <a:ext cx="8639588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357000"/>
            <a:ext cx="8639588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6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6242403"/>
            <a:ext cx="1403648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381328"/>
            <a:ext cx="1074901" cy="248392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9203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649108"/>
            <a:ext cx="8639588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357000"/>
            <a:ext cx="8639588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6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6242403"/>
            <a:ext cx="1403648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77861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9375130"/>
              </p:ext>
            </p:ext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649108"/>
            <a:ext cx="8639588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357000"/>
            <a:ext cx="8639588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6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6242403"/>
            <a:ext cx="1403648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1118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649108"/>
            <a:ext cx="8639588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357000"/>
            <a:ext cx="8639588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6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3" y="6242403"/>
            <a:ext cx="1403648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3212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400719"/>
              </p:ext>
            </p:ext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649108"/>
            <a:ext cx="8639588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357000"/>
            <a:ext cx="8639588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6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6242403"/>
            <a:ext cx="1403648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2381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649108"/>
            <a:ext cx="8639588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357000"/>
            <a:ext cx="8639588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6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6242403"/>
            <a:ext cx="1403648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7145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36" y="712452"/>
            <a:ext cx="5665375" cy="7145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1" b="0" i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Gracias!</a:t>
            </a:r>
            <a:endParaRPr lang="en-US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5808520" y="3699164"/>
            <a:ext cx="1931834" cy="38100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7596346" y="2715510"/>
            <a:ext cx="757955" cy="4793673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8244410" y="1288477"/>
            <a:ext cx="1037271" cy="6220692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395" y="6405563"/>
            <a:ext cx="1074901" cy="248392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1319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892558"/>
              </p:ext>
            </p:ext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649108"/>
            <a:ext cx="8639588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357000"/>
            <a:ext cx="8639588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6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6242403"/>
            <a:ext cx="1403648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0259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649108"/>
            <a:ext cx="8639588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357000"/>
            <a:ext cx="8639588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6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3" y="6242403"/>
            <a:ext cx="1403648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>
                <a:latin typeface="Arial" panose="020B0604020202020204" pitchFamily="34" charset="0"/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>
                <a:latin typeface="Arial" panose="020B0604020202020204" pitchFamily="34" charset="0"/>
              </a:endParaRPr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69224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3488895"/>
              </p:ext>
            </p:extLst>
          </p:nvPr>
        </p:nvGraphicFramePr>
        <p:xfrm>
          <a:off x="1590" y="2136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136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1" y="17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649108"/>
            <a:ext cx="8639588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modificar el título de esta página, cuentas con dos líneas para títulos extensos</a:t>
            </a:r>
            <a:endParaRPr lang="en-US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1" y="357000"/>
            <a:ext cx="8639588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6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2991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771E8B-6CA5-40B2-8038-0E112F3DAC1C}" type="datetimeFigureOut">
              <a:rPr lang="es-ES" smtClean="0"/>
              <a:t>14/10/202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05565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40642"/>
            <a:ext cx="358902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1" y="1592934"/>
            <a:ext cx="5213948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85" y="1503255"/>
            <a:ext cx="2800985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861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40642"/>
            <a:ext cx="358902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2" y="1592934"/>
            <a:ext cx="520355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85" y="1503255"/>
            <a:ext cx="2800985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9993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40642"/>
            <a:ext cx="358902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2" y="1592934"/>
            <a:ext cx="528945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85" y="1503255"/>
            <a:ext cx="2800985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0045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40642"/>
            <a:ext cx="358902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2" y="1592934"/>
            <a:ext cx="528945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85" y="1503255"/>
            <a:ext cx="2800985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2007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40642"/>
            <a:ext cx="358902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>
              <a:latin typeface="Arial" panose="020B0604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12" y="1592934"/>
            <a:ext cx="528945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999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Haga clic para título separata de nivel 1</a:t>
            </a:r>
            <a:endParaRPr lang="en-U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85" y="1503255"/>
            <a:ext cx="2800985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50" y="6501359"/>
            <a:ext cx="287140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  <a:latin typeface="Arial" panose="020B0604020202020204" pitchFamily="34" charset="0"/>
              </a:rPr>
              <a:pPr algn="r"/>
              <a:t>‹#›</a:t>
            </a:fld>
            <a:endParaRPr lang="es-ES" sz="1067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3770678"/>
            <a:ext cx="432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>
                <a:latin typeface="Arial" panose="020B0604020202020204" pitchFamily="34" charset="0"/>
              </a:defRPr>
            </a:lvl1pPr>
            <a:lvl2pPr marL="456883" indent="0">
              <a:buNone/>
              <a:defRPr/>
            </a:lvl2pPr>
            <a:lvl3pPr marL="913765" indent="0">
              <a:buNone/>
              <a:defRPr/>
            </a:lvl3pPr>
            <a:lvl4pPr marL="1370648" indent="0">
              <a:buNone/>
              <a:defRPr/>
            </a:lvl4pPr>
            <a:lvl5pPr marL="1827530" indent="0">
              <a:buNone/>
              <a:defRPr/>
            </a:lvl5pPr>
          </a:lstStyle>
          <a:p>
            <a:pPr lvl="0"/>
            <a:r>
              <a:rPr lang="es-ES"/>
              <a:t>Editar el subtitulo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443" y="6405563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1" y="6447831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156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99" r:id="rId2"/>
    <p:sldLayoutId id="2147483798" r:id="rId3"/>
    <p:sldLayoutId id="2147483771" r:id="rId4"/>
    <p:sldLayoutId id="2147483748" r:id="rId5"/>
    <p:sldLayoutId id="2147483749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46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678" r:id="rId30"/>
    <p:sldLayoutId id="2147483790" r:id="rId31"/>
    <p:sldLayoutId id="2147483669" r:id="rId32"/>
    <p:sldLayoutId id="2147483789" r:id="rId33"/>
    <p:sldLayoutId id="2147483685" r:id="rId34"/>
    <p:sldLayoutId id="2147483792" r:id="rId35"/>
    <p:sldLayoutId id="2147483693" r:id="rId36"/>
    <p:sldLayoutId id="2147483793" r:id="rId37"/>
    <p:sldLayoutId id="2147483701" r:id="rId38"/>
    <p:sldLayoutId id="2147483794" r:id="rId39"/>
    <p:sldLayoutId id="2147483785" r:id="rId40"/>
    <p:sldLayoutId id="2147483795" r:id="rId41"/>
    <p:sldLayoutId id="2147483788" r:id="rId42"/>
    <p:sldLayoutId id="2147483800" r:id="rId43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4664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228442" indent="-228442" algn="l" defTabSz="913765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685326" indent="-228442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206" indent="-228442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088" indent="-228442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5967" indent="-228442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2853" indent="-228442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69736" indent="-228442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617" indent="-228442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3502" indent="-228442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883" algn="l" defTabSz="91376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648" algn="l" defTabSz="91376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530" algn="l" defTabSz="91376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414" algn="l" defTabSz="91376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294" algn="l" defTabSz="91376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176" algn="l" defTabSz="91376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055" algn="l" defTabSz="91376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25" userDrawn="1">
          <p15:clr>
            <a:srgbClr val="F26B43"/>
          </p15:clr>
        </p15:guide>
        <p15:guide id="4" orient="horz" pos="4035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10" pos="5602" userDrawn="1">
          <p15:clr>
            <a:srgbClr val="F26B43"/>
          </p15:clr>
        </p15:guide>
        <p15:guide id="15" pos="159" userDrawn="1">
          <p15:clr>
            <a:srgbClr val="F26B43"/>
          </p15:clr>
        </p15:guide>
        <p15:guide id="17" orient="horz" pos="769" userDrawn="1">
          <p15:clr>
            <a:srgbClr val="F26B43"/>
          </p15:clr>
        </p15:guide>
        <p15:guide id="18" orient="horz" pos="36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truffleframework.com/ganache" TargetMode="External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Relationship Id="rId4" Type="http://schemas.openxmlformats.org/officeDocument/2006/relationships/image" Target="../media/image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7.xml"/><Relationship Id="rId4" Type="http://schemas.openxmlformats.org/officeDocument/2006/relationships/image" Target="../media/image8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3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37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36.png"/><Relationship Id="rId5" Type="http://schemas.openxmlformats.org/officeDocument/2006/relationships/image" Target="../media/image6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4.xml"/><Relationship Id="rId4" Type="http://schemas.openxmlformats.org/officeDocument/2006/relationships/image" Target="../media/image8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0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slideLayout" Target="../slideLayouts/slideLayout31.xml"/><Relationship Id="rId7" Type="http://schemas.openxmlformats.org/officeDocument/2006/relationships/diagramLayout" Target="../diagrams/layout5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diagramData" Target="../diagrams/data5.xml"/><Relationship Id="rId5" Type="http://schemas.openxmlformats.org/officeDocument/2006/relationships/image" Target="../media/image6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15.bin"/><Relationship Id="rId9" Type="http://schemas.openxmlformats.org/officeDocument/2006/relationships/diagramColors" Target="../diagrams/colors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web3js.org/" TargetMode="External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contenido 10">
            <a:extLst>
              <a:ext uri="{FF2B5EF4-FFF2-40B4-BE49-F238E27FC236}">
                <a16:creationId xmlns:a16="http://schemas.microsoft.com/office/drawing/2014/main" id="{CADB838D-94AC-C545-9C3D-3E09738A375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s-ES"/>
              <a:t>Punto de partida</a:t>
            </a:r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7D0F4E9E-D4B3-B547-A9DC-4D8880C9F4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>
                <a:latin typeface="Georgia"/>
              </a:rPr>
              <a:t>Web 3.0 - </a:t>
            </a:r>
            <a:r>
              <a:rPr lang="es-ES" err="1">
                <a:latin typeface="Georgia"/>
              </a:rPr>
              <a:t>Blockchain</a:t>
            </a:r>
            <a:endParaRPr lang="es-ES" err="1"/>
          </a:p>
        </p:txBody>
      </p:sp>
      <p:sp>
        <p:nvSpPr>
          <p:cNvPr id="8" name="Marcador de contenido 7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s-ES"/>
              <a:t>Septiembre 18</a:t>
            </a:r>
          </a:p>
        </p:txBody>
      </p:sp>
    </p:spTree>
    <p:extLst>
      <p:ext uri="{BB962C8B-B14F-4D97-AF65-F5344CB8AC3E}">
        <p14:creationId xmlns:p14="http://schemas.microsoft.com/office/powerpoint/2010/main" val="3328428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C9E00FC-8882-94D8-1016-857002698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105" y="448582"/>
            <a:ext cx="7957799" cy="919343"/>
          </a:xfrm>
        </p:spPr>
        <p:txBody>
          <a:bodyPr/>
          <a:lstStyle/>
          <a:p>
            <a:r>
              <a:rPr lang="es-ES" sz="3200">
                <a:latin typeface="Georgia"/>
              </a:rPr>
              <a:t>Instalación y configuración de Ganache</a:t>
            </a:r>
            <a:endParaRPr lang="es-ES" sz="3200"/>
          </a:p>
        </p:txBody>
      </p:sp>
      <p:pic>
        <p:nvPicPr>
          <p:cNvPr id="4" name="Imagen 3" descr="Tabla&#10;&#10;Descripción generada automáticamente">
            <a:extLst>
              <a:ext uri="{FF2B5EF4-FFF2-40B4-BE49-F238E27FC236}">
                <a16:creationId xmlns:a16="http://schemas.microsoft.com/office/drawing/2014/main" id="{49E05AD9-6D90-09AB-3FD4-39E480C65A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4216" y="1356811"/>
            <a:ext cx="4677277" cy="4575510"/>
          </a:xfrm>
          <a:prstGeom prst="rect">
            <a:avLst/>
          </a:prstGeom>
        </p:spPr>
      </p:pic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D5811658-284B-DC3B-40A5-9A2593C44E64}"/>
              </a:ext>
            </a:extLst>
          </p:cNvPr>
          <p:cNvSpPr>
            <a:spLocks noGrp="1"/>
          </p:cNvSpPr>
          <p:nvPr/>
        </p:nvSpPr>
        <p:spPr>
          <a:xfrm>
            <a:off x="289930" y="1921668"/>
            <a:ext cx="3988487" cy="42351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2400" b="1">
                <a:latin typeface="Calibri Light"/>
                <a:ea typeface="+mn-lt"/>
                <a:cs typeface="+mn-lt"/>
              </a:rPr>
              <a:t>Instalación:</a:t>
            </a:r>
            <a:endParaRPr lang="es-ES" sz="2400">
              <a:latin typeface="Calibri Light"/>
              <a:ea typeface="Calibri Light"/>
              <a:cs typeface="Calibri Light"/>
            </a:endParaRPr>
          </a:p>
          <a:p>
            <a:r>
              <a:rPr lang="es-ES" sz="2400">
                <a:latin typeface="Calibri Light"/>
                <a:ea typeface="+mn-lt"/>
                <a:cs typeface="+mn-lt"/>
              </a:rPr>
              <a:t>Descarga desde: </a:t>
            </a:r>
            <a:r>
              <a:rPr lang="es-ES" sz="2400">
                <a:latin typeface="Calibri Light"/>
                <a:ea typeface="+mn-lt"/>
                <a:cs typeface="+mn-lt"/>
                <a:hlinkClick r:id="rId3"/>
              </a:rPr>
              <a:t>truffleframework.com/ganache</a:t>
            </a:r>
            <a:endParaRPr lang="es-ES" sz="2400">
              <a:latin typeface="Calibri Light"/>
              <a:ea typeface="Calibri Light"/>
              <a:cs typeface="Calibri Light"/>
            </a:endParaRPr>
          </a:p>
          <a:p>
            <a:r>
              <a:rPr lang="es-ES" sz="2400">
                <a:latin typeface="Calibri Light"/>
                <a:ea typeface="+mn-lt"/>
                <a:cs typeface="+mn-lt"/>
              </a:rPr>
              <a:t>Alternativamente, usando </a:t>
            </a:r>
            <a:r>
              <a:rPr lang="es-ES" sz="2400" err="1">
                <a:latin typeface="Calibri Light"/>
                <a:ea typeface="+mn-lt"/>
                <a:cs typeface="+mn-lt"/>
              </a:rPr>
              <a:t>npm</a:t>
            </a:r>
            <a:r>
              <a:rPr lang="es-ES" sz="2400">
                <a:latin typeface="Calibri Light"/>
                <a:ea typeface="+mn-lt"/>
                <a:cs typeface="+mn-lt"/>
              </a:rPr>
              <a:t>:</a:t>
            </a:r>
            <a:r>
              <a:rPr lang="es-ES" sz="2000">
                <a:latin typeface="Calibri Light"/>
                <a:ea typeface="+mn-lt"/>
                <a:cs typeface="+mn-lt"/>
              </a:rPr>
              <a:t> </a:t>
            </a:r>
            <a:r>
              <a:rPr lang="es-ES" sz="2000" err="1">
                <a:latin typeface="Consolas"/>
                <a:ea typeface="Calibri Light"/>
                <a:cs typeface="Calibri Light"/>
              </a:rPr>
              <a:t>npm</a:t>
            </a:r>
            <a:r>
              <a:rPr lang="es-ES" sz="2000">
                <a:latin typeface="Consolas"/>
                <a:ea typeface="Calibri Light"/>
                <a:cs typeface="Calibri Light"/>
              </a:rPr>
              <a:t> </a:t>
            </a:r>
            <a:r>
              <a:rPr lang="es-ES" sz="2000" err="1">
                <a:latin typeface="Consolas"/>
                <a:ea typeface="Calibri Light"/>
                <a:cs typeface="Calibri Light"/>
              </a:rPr>
              <a:t>install</a:t>
            </a:r>
            <a:r>
              <a:rPr lang="es-ES" sz="2000">
                <a:latin typeface="Consolas"/>
                <a:ea typeface="Calibri Light"/>
                <a:cs typeface="Calibri Light"/>
              </a:rPr>
              <a:t> ganache-</a:t>
            </a:r>
            <a:r>
              <a:rPr lang="es-ES" sz="2000" err="1">
                <a:latin typeface="Consolas"/>
                <a:ea typeface="Calibri Light"/>
                <a:cs typeface="Calibri Light"/>
              </a:rPr>
              <a:t>cli</a:t>
            </a:r>
            <a:endParaRPr lang="es-ES" sz="2000">
              <a:latin typeface="Consolas"/>
              <a:ea typeface="Calibri Light"/>
              <a:cs typeface="Calibri Light"/>
            </a:endParaRPr>
          </a:p>
          <a:p>
            <a:pPr marL="0" indent="0">
              <a:buNone/>
            </a:pPr>
            <a:r>
              <a:rPr lang="es-ES" sz="2400" b="1">
                <a:latin typeface="Calibri Light"/>
                <a:ea typeface="+mn-lt"/>
                <a:cs typeface="+mn-lt"/>
              </a:rPr>
              <a:t>Uso Básico:</a:t>
            </a:r>
            <a:endParaRPr lang="es-ES" sz="2400">
              <a:latin typeface="Calibri Light"/>
              <a:ea typeface="Calibri Light"/>
              <a:cs typeface="Calibri Light"/>
            </a:endParaRPr>
          </a:p>
          <a:p>
            <a:pPr marL="0" indent="0">
              <a:buNone/>
            </a:pPr>
            <a:r>
              <a:rPr lang="es-ES" sz="2400">
                <a:latin typeface="Calibri Light"/>
                <a:ea typeface="+mn-lt"/>
                <a:cs typeface="+mn-lt"/>
              </a:rPr>
              <a:t>Iniciar Ganache: </a:t>
            </a:r>
            <a:r>
              <a:rPr lang="es-ES" sz="2000">
                <a:latin typeface="Consolas"/>
                <a:ea typeface="Calibri Light"/>
                <a:cs typeface="Calibri Light"/>
              </a:rPr>
              <a:t>ganache-</a:t>
            </a:r>
            <a:r>
              <a:rPr lang="es-ES" sz="2000" err="1">
                <a:latin typeface="Consolas"/>
                <a:ea typeface="Calibri Light"/>
                <a:cs typeface="Calibri Light"/>
              </a:rPr>
              <a:t>cli</a:t>
            </a:r>
            <a:endParaRPr lang="es-ES" sz="2000">
              <a:latin typeface="Consolas"/>
              <a:ea typeface="Calibri Light"/>
              <a:cs typeface="Calibri Light"/>
            </a:endParaRPr>
          </a:p>
          <a:p>
            <a:pPr marL="0" indent="0">
              <a:buNone/>
            </a:pPr>
            <a:endParaRPr lang="es-ES" sz="2000">
              <a:latin typeface="Consolas"/>
            </a:endParaRPr>
          </a:p>
          <a:p>
            <a:endParaRPr lang="es-ES" sz="2000"/>
          </a:p>
        </p:txBody>
      </p:sp>
    </p:spTree>
    <p:extLst>
      <p:ext uri="{BB962C8B-B14F-4D97-AF65-F5344CB8AC3E}">
        <p14:creationId xmlns:p14="http://schemas.microsoft.com/office/powerpoint/2010/main" val="36559084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18703" y="390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518703" y="390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ítulo 22"/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es-ES" sz="3200">
                <a:latin typeface="Georgia"/>
              </a:rPr>
              <a:t>Características de Ganache</a:t>
            </a:r>
            <a:endParaRPr lang="es-ES" sz="3200"/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10"/>
          </p:nvPr>
        </p:nvSpPr>
        <p:spPr>
          <a:xfrm>
            <a:off x="252000" y="2434743"/>
            <a:ext cx="5583315" cy="3587194"/>
          </a:xfrm>
        </p:spPr>
        <p:txBody>
          <a:bodyPr lIns="0" tIns="0" rIns="0" bIns="0" anchor="t"/>
          <a:lstStyle/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s-ES" sz="2400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Rápida configuración de la </a:t>
            </a:r>
            <a:r>
              <a:rPr lang="es-ES" sz="2400" err="1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blockchain</a:t>
            </a:r>
            <a:r>
              <a:rPr lang="es-ES" sz="2400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 local.</a:t>
            </a: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s-ES" sz="2400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Gestión de cuentas de prueba.</a:t>
            </a: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s-ES" sz="2400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Interfaz amigable para monitoreo de transacciones.</a:t>
            </a:r>
            <a:endParaRPr lang="es-ES" sz="2400">
              <a:latin typeface="Calibri Light"/>
              <a:ea typeface="Calibri Light"/>
              <a:cs typeface="Calibri Light"/>
            </a:endParaRP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es-ES" sz="2400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Integración con herramientas como </a:t>
            </a:r>
            <a:r>
              <a:rPr lang="es-ES" sz="2400" err="1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Truffle</a:t>
            </a:r>
            <a:r>
              <a:rPr lang="es-ES" sz="2400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 y Remix.</a:t>
            </a:r>
            <a:endParaRPr lang="es-ES" sz="2400">
              <a:latin typeface="Calibri Light"/>
              <a:ea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9357861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18703" y="390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518703" y="390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>
            <p:custDataLst>
              <p:tags r:id="rId2"/>
            </p:custDataLst>
          </p:nvPr>
        </p:nvSpPr>
        <p:spPr>
          <a:xfrm>
            <a:off x="-1520819" y="1793"/>
            <a:ext cx="211556" cy="2115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7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D116D2A8-72ED-E612-3ED5-F3E824559B58}"/>
              </a:ext>
            </a:extLst>
          </p:cNvPr>
          <p:cNvSpPr txBox="1">
            <a:spLocks/>
          </p:cNvSpPr>
          <p:nvPr/>
        </p:nvSpPr>
        <p:spPr>
          <a:xfrm>
            <a:off x="252000" y="1600982"/>
            <a:ext cx="8641342" cy="4927461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442" indent="-228442" algn="l" defTabSz="913765" rtl="0" eaLnBrk="1" latinLnBrk="0" hangingPunct="1">
              <a:lnSpc>
                <a:spcPct val="90000"/>
              </a:lnSpc>
              <a:spcBef>
                <a:spcPts val="999"/>
              </a:spcBef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Soho Gothic Pro Light" panose="020B0303030504020204" pitchFamily="34" charset="77"/>
                <a:ea typeface="+mn-ea"/>
                <a:cs typeface="+mn-cs"/>
              </a:defRPr>
            </a:lvl1pPr>
            <a:lvl2pPr marL="685326" indent="-228442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206" indent="-228442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088" indent="-228442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967" indent="-228442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2853" indent="-228442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736" indent="-228442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617" indent="-228442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502" indent="-228442" algn="l" defTabSz="91376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8600">
              <a:buFont typeface=""/>
              <a:buChar char="•"/>
            </a:pPr>
            <a:r>
              <a:rPr lang="es-ES" sz="2400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Descargar, instalar y abrir la UI de Ganache e iniciar entorno.</a:t>
            </a:r>
            <a:r>
              <a:rPr lang="es-ES" sz="2400">
                <a:latin typeface="Calibri Light"/>
                <a:ea typeface="Arial"/>
                <a:cs typeface="Arial"/>
              </a:rPr>
              <a:t>​</a:t>
            </a:r>
          </a:p>
          <a:p>
            <a:pPr marL="228600" lvl="1" indent="-228600">
              <a:buFont typeface=""/>
              <a:buChar char="•"/>
            </a:pPr>
            <a:r>
              <a:rPr lang="es-ES" sz="2400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Abrir </a:t>
            </a:r>
            <a:r>
              <a:rPr lang="es-ES" sz="2400" err="1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Metamask</a:t>
            </a:r>
            <a:r>
              <a:rPr lang="es-ES" sz="2400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 en el navegador y añadir red.</a:t>
            </a:r>
            <a:r>
              <a:rPr lang="en-US" sz="2400">
                <a:latin typeface="Calibri Light"/>
                <a:ea typeface="Arial"/>
                <a:cs typeface="Arial"/>
              </a:rPr>
              <a:t>​</a:t>
            </a:r>
          </a:p>
          <a:p>
            <a:pPr marL="228600" lvl="1" indent="-228600">
              <a:buFont typeface=""/>
              <a:buChar char="•"/>
            </a:pPr>
            <a:r>
              <a:rPr lang="es-ES" sz="2400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Añadir red manualmente e introducir los datos pedidos de la red local que podemos consultar en Ganache.</a:t>
            </a:r>
            <a:r>
              <a:rPr lang="es-ES" sz="2400">
                <a:latin typeface="Calibri Light"/>
                <a:ea typeface="Arial"/>
                <a:cs typeface="Arial"/>
              </a:rPr>
              <a:t>​</a:t>
            </a:r>
          </a:p>
          <a:p>
            <a:pPr marL="228600" lvl="1" indent="-228600">
              <a:buFont typeface=""/>
              <a:buChar char="•"/>
            </a:pPr>
            <a:r>
              <a:rPr lang="es-ES" sz="2400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Importar una billetera de Ganache en </a:t>
            </a:r>
            <a:r>
              <a:rPr lang="es-ES" sz="2400" err="1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Metamask</a:t>
            </a:r>
            <a:r>
              <a:rPr lang="es-ES" sz="2400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 con su clave privada. </a:t>
            </a:r>
            <a:r>
              <a:rPr lang="en-US" sz="2400">
                <a:latin typeface="Calibri Light"/>
                <a:ea typeface="Arial"/>
                <a:cs typeface="Arial"/>
              </a:rPr>
              <a:t>​</a:t>
            </a:r>
          </a:p>
          <a:p>
            <a:pPr marL="228600" lvl="1" indent="-228600">
              <a:buFont typeface=""/>
              <a:buChar char="•"/>
            </a:pPr>
            <a:r>
              <a:rPr lang="es-ES" sz="2400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Crear un proyecto con </a:t>
            </a:r>
            <a:r>
              <a:rPr lang="es-ES" sz="2400" err="1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NodeJS</a:t>
            </a:r>
            <a:r>
              <a:rPr lang="es-ES" sz="2400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. </a:t>
            </a:r>
            <a:r>
              <a:rPr lang="es-ES" sz="2000" b="1" err="1">
                <a:solidFill>
                  <a:srgbClr val="000000"/>
                </a:solidFill>
                <a:latin typeface="Consolas"/>
                <a:ea typeface="Arial"/>
                <a:cs typeface="Arial"/>
              </a:rPr>
              <a:t>npm</a:t>
            </a:r>
            <a:r>
              <a:rPr lang="es-ES" sz="2000" b="1">
                <a:solidFill>
                  <a:srgbClr val="000000"/>
                </a:solidFill>
                <a:latin typeface="Consolas"/>
                <a:ea typeface="Arial"/>
                <a:cs typeface="Arial"/>
              </a:rPr>
              <a:t> </a:t>
            </a:r>
            <a:r>
              <a:rPr lang="es-ES" sz="2000" b="1" err="1">
                <a:solidFill>
                  <a:srgbClr val="000000"/>
                </a:solidFill>
                <a:latin typeface="Consolas"/>
                <a:ea typeface="Arial"/>
                <a:cs typeface="Arial"/>
              </a:rPr>
              <a:t>init</a:t>
            </a:r>
            <a:r>
              <a:rPr lang="es-ES" sz="2000" b="1">
                <a:solidFill>
                  <a:srgbClr val="000000"/>
                </a:solidFill>
                <a:latin typeface="Consolas"/>
                <a:ea typeface="Arial"/>
                <a:cs typeface="Arial"/>
              </a:rPr>
              <a:t> –y</a:t>
            </a:r>
            <a:r>
              <a:rPr lang="en-US" sz="2000">
                <a:latin typeface="Consolas"/>
                <a:ea typeface="Arial"/>
                <a:cs typeface="Arial"/>
              </a:rPr>
              <a:t>​</a:t>
            </a:r>
          </a:p>
          <a:p>
            <a:pPr marL="228600" lvl="1" indent="-228600">
              <a:buFont typeface=""/>
              <a:buChar char="•"/>
            </a:pPr>
            <a:r>
              <a:rPr lang="es-ES" sz="2400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Instalar Web3 y </a:t>
            </a:r>
            <a:r>
              <a:rPr lang="es-ES" sz="2400" err="1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express</a:t>
            </a:r>
            <a:r>
              <a:rPr lang="es-ES" sz="2400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. </a:t>
            </a:r>
            <a:r>
              <a:rPr lang="es-ES" sz="2000" b="1" err="1">
                <a:solidFill>
                  <a:srgbClr val="000000"/>
                </a:solidFill>
                <a:latin typeface="Consolas"/>
                <a:ea typeface="Arial"/>
                <a:cs typeface="Arial"/>
              </a:rPr>
              <a:t>npm</a:t>
            </a:r>
            <a:r>
              <a:rPr lang="es-ES" sz="2000" b="1">
                <a:solidFill>
                  <a:srgbClr val="000000"/>
                </a:solidFill>
                <a:latin typeface="Consolas"/>
                <a:ea typeface="Arial"/>
                <a:cs typeface="Arial"/>
              </a:rPr>
              <a:t> </a:t>
            </a:r>
            <a:r>
              <a:rPr lang="es-ES" sz="2000" b="1" err="1">
                <a:solidFill>
                  <a:srgbClr val="000000"/>
                </a:solidFill>
                <a:latin typeface="Consolas"/>
                <a:ea typeface="Arial"/>
                <a:cs typeface="Arial"/>
              </a:rPr>
              <a:t>install</a:t>
            </a:r>
            <a:r>
              <a:rPr lang="es-ES" sz="2000" b="1">
                <a:solidFill>
                  <a:srgbClr val="000000"/>
                </a:solidFill>
                <a:latin typeface="Consolas"/>
                <a:ea typeface="Arial"/>
                <a:cs typeface="Arial"/>
              </a:rPr>
              <a:t> web3 </a:t>
            </a:r>
            <a:r>
              <a:rPr lang="es-ES" sz="2000" b="1" err="1">
                <a:solidFill>
                  <a:srgbClr val="000000"/>
                </a:solidFill>
                <a:latin typeface="Consolas"/>
                <a:ea typeface="Arial"/>
                <a:cs typeface="Arial"/>
              </a:rPr>
              <a:t>express</a:t>
            </a:r>
            <a:r>
              <a:rPr lang="en-US" sz="2000">
                <a:latin typeface="Consolas"/>
                <a:ea typeface="Arial"/>
                <a:cs typeface="Arial"/>
              </a:rPr>
              <a:t>​</a:t>
            </a:r>
          </a:p>
          <a:p>
            <a:pPr marL="228600" lvl="1" indent="-228600">
              <a:buFont typeface=""/>
              <a:buChar char="•"/>
            </a:pPr>
            <a:r>
              <a:rPr lang="es-ES" sz="2400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Crear la conexión con Ganache usando Web3.</a:t>
            </a:r>
            <a:r>
              <a:rPr lang="en-US" sz="2400">
                <a:latin typeface="Calibri Light"/>
                <a:ea typeface="Arial"/>
                <a:cs typeface="Arial"/>
              </a:rPr>
              <a:t>​</a:t>
            </a:r>
          </a:p>
          <a:p>
            <a:pPr marL="228600" lvl="1" indent="-228600">
              <a:buFont typeface=""/>
              <a:buChar char="•"/>
            </a:pPr>
            <a:r>
              <a:rPr lang="es-ES" sz="2400">
                <a:solidFill>
                  <a:srgbClr val="000000"/>
                </a:solidFill>
                <a:latin typeface="Calibri Light"/>
                <a:ea typeface="Arial"/>
                <a:cs typeface="Arial"/>
              </a:rPr>
              <a:t>Desarrollar la funcionalidad deseada usando la librería de Web3.</a:t>
            </a:r>
          </a:p>
          <a:p>
            <a:pPr marL="228600" lvl="1" indent="-228600">
              <a:buFont typeface=""/>
              <a:buChar char="•"/>
            </a:pPr>
            <a:endParaRPr lang="es-ES" sz="2400">
              <a:solidFill>
                <a:srgbClr val="000000"/>
              </a:solidFill>
              <a:latin typeface="Calibri Light"/>
              <a:ea typeface="Arial"/>
              <a:cs typeface="Arial"/>
            </a:endParaRP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1EDDB1F9-57AA-BCD0-AFC7-79BB432D70D5}"/>
              </a:ext>
            </a:extLst>
          </p:cNvPr>
          <p:cNvSpPr>
            <a:spLocks noGrp="1"/>
          </p:cNvSpPr>
          <p:nvPr/>
        </p:nvSpPr>
        <p:spPr>
          <a:xfrm>
            <a:off x="252000" y="374890"/>
            <a:ext cx="8892927" cy="903706"/>
          </a:xfrm>
          <a:prstGeom prst="rect">
            <a:avLst/>
          </a:prstGeom>
        </p:spPr>
        <p:txBody>
          <a:bodyPr lIns="0" tIns="0" rIns="0" bIns="0" anchor="t"/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99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s-ES" sz="3200">
                <a:latin typeface="Georgia"/>
              </a:rPr>
              <a:t>Integración de </a:t>
            </a:r>
            <a:r>
              <a:rPr lang="es-ES" sz="3200" err="1">
                <a:latin typeface="Georgia"/>
              </a:rPr>
              <a:t>Metamask</a:t>
            </a:r>
            <a:r>
              <a:rPr lang="es-ES" sz="3200">
                <a:latin typeface="Georgia"/>
              </a:rPr>
              <a:t>, Web3.js y Ganache</a:t>
            </a:r>
            <a:endParaRPr lang="es-ES" sz="3200"/>
          </a:p>
        </p:txBody>
      </p:sp>
    </p:spTree>
    <p:extLst>
      <p:ext uri="{BB962C8B-B14F-4D97-AF65-F5344CB8AC3E}">
        <p14:creationId xmlns:p14="http://schemas.microsoft.com/office/powerpoint/2010/main" val="23051104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err="1">
                <a:latin typeface="Georgia"/>
              </a:rPr>
              <a:t>Características</a:t>
            </a:r>
            <a:r>
              <a:rPr lang="en-US" sz="3200">
                <a:latin typeface="Georgia"/>
              </a:rPr>
              <a:t> de la Blockchain</a:t>
            </a:r>
            <a:endParaRPr lang="en-US" sz="320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 lIns="0" tIns="45720" rIns="91440" bIns="45720" anchor="t" anchorCtr="0">
            <a:noAutofit/>
          </a:bodyPr>
          <a:lstStyle/>
          <a:p>
            <a:r>
              <a:rPr lang="es-ES"/>
              <a:t>          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248682" y="1256568"/>
            <a:ext cx="8645891" cy="495248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800"/>
              </a:spcBef>
            </a:pPr>
            <a:endParaRPr lang="es-ES" sz="12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Calibri" panose="05000000000000000000" pitchFamily="2" charset="2"/>
              <a:buChar char="-"/>
            </a:pPr>
            <a:r>
              <a:rPr lang="es-ES" sz="2000" b="1">
                <a:solidFill>
                  <a:srgbClr val="000000"/>
                </a:solidFill>
                <a:latin typeface="Calibri Light"/>
                <a:ea typeface="Calibri Light"/>
                <a:cs typeface="Arial"/>
              </a:rPr>
              <a:t>Propiedad, Protección y Privacidad de Datos</a:t>
            </a:r>
            <a:endParaRPr lang="es-ES" sz="2000">
              <a:latin typeface="Calibri Light"/>
              <a:ea typeface="Calibri Light"/>
              <a:cs typeface="Arial"/>
            </a:endParaRPr>
          </a:p>
          <a:p>
            <a:pPr marL="742315" lvl="1" indent="-285750">
              <a:lnSpc>
                <a:spcPct val="90000"/>
              </a:lnSpc>
              <a:spcBef>
                <a:spcPts val="500"/>
              </a:spcBef>
              <a:buFont typeface="Courier New,monospace" panose="05000000000000000000" pitchFamily="2" charset="2"/>
              <a:buChar char="o"/>
            </a:pPr>
            <a:r>
              <a:rPr lang="es-ES" sz="1800" b="1">
                <a:solidFill>
                  <a:srgbClr val="000000"/>
                </a:solidFill>
                <a:latin typeface="Calibri Light"/>
                <a:ea typeface="Calibri Light"/>
                <a:cs typeface="Arial"/>
              </a:rPr>
              <a:t>Control de Datos</a:t>
            </a:r>
            <a:endParaRPr lang="es-ES" sz="1800">
              <a:solidFill>
                <a:srgbClr val="1A3B47"/>
              </a:solidFill>
              <a:latin typeface="Calibri Light"/>
              <a:ea typeface="Calibri Light"/>
              <a:cs typeface="Arial"/>
            </a:endParaRPr>
          </a:p>
          <a:p>
            <a:pPr marL="742315" lvl="1" indent="-285750">
              <a:lnSpc>
                <a:spcPct val="90000"/>
              </a:lnSpc>
              <a:spcBef>
                <a:spcPts val="500"/>
              </a:spcBef>
              <a:buFont typeface="Courier New,monospace" panose="05000000000000000000" pitchFamily="2" charset="2"/>
              <a:buChar char="o"/>
            </a:pPr>
            <a:r>
              <a:rPr lang="es-ES" sz="1800" b="1">
                <a:solidFill>
                  <a:srgbClr val="000000"/>
                </a:solidFill>
                <a:latin typeface="Calibri Light"/>
                <a:ea typeface="Calibri Light"/>
                <a:cs typeface="Arial"/>
              </a:rPr>
              <a:t>Identidad Digital</a:t>
            </a:r>
            <a:endParaRPr lang="es-ES" sz="1800">
              <a:solidFill>
                <a:srgbClr val="000000"/>
              </a:solidFill>
              <a:latin typeface="Calibri Light"/>
              <a:ea typeface="Calibri Light"/>
              <a:cs typeface="Arial"/>
            </a:endParaRPr>
          </a:p>
          <a:p>
            <a:pPr marL="742315" lvl="1" indent="-285750">
              <a:lnSpc>
                <a:spcPct val="90000"/>
              </a:lnSpc>
              <a:spcBef>
                <a:spcPts val="500"/>
              </a:spcBef>
              <a:buFont typeface="Courier New,monospace" panose="05000000000000000000" pitchFamily="2" charset="2"/>
              <a:buChar char="o"/>
            </a:pPr>
            <a:r>
              <a:rPr lang="es-ES" sz="1800" b="1" err="1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Blockchain</a:t>
            </a:r>
            <a:r>
              <a:rPr lang="es-ES" sz="1800" b="1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 pública</a:t>
            </a:r>
            <a:endParaRPr lang="en-US" sz="1800">
              <a:solidFill>
                <a:srgbClr val="000000"/>
              </a:solidFill>
              <a:latin typeface="Calibri Light"/>
              <a:ea typeface="Calibri Light"/>
              <a:cs typeface="Calibri Light"/>
            </a:endParaRPr>
          </a:p>
          <a:p>
            <a:pPr marL="285750" indent="-285750">
              <a:lnSpc>
                <a:spcPct val="90000"/>
              </a:lnSpc>
              <a:spcBef>
                <a:spcPts val="500"/>
              </a:spcBef>
              <a:buFont typeface="Calibri" panose="05000000000000000000" pitchFamily="2" charset="2"/>
              <a:buChar char="-"/>
            </a:pPr>
            <a:r>
              <a:rPr lang="es-ES" sz="2000" b="1">
                <a:solidFill>
                  <a:srgbClr val="000000"/>
                </a:solidFill>
                <a:latin typeface="Calibri Light"/>
                <a:ea typeface="Calibri Light"/>
                <a:cs typeface="Arial"/>
              </a:rPr>
              <a:t>Interoperabilidad</a:t>
            </a:r>
            <a:endParaRPr lang="es-ES" sz="2000">
              <a:latin typeface="Calibri Light"/>
              <a:ea typeface="Calibri Light"/>
              <a:cs typeface="Arial"/>
            </a:endParaRPr>
          </a:p>
          <a:p>
            <a:pPr marL="742315" lvl="1" indent="-285750">
              <a:lnSpc>
                <a:spcPct val="90000"/>
              </a:lnSpc>
              <a:spcBef>
                <a:spcPts val="500"/>
              </a:spcBef>
              <a:buFont typeface="Courier New,monospace" panose="05000000000000000000" pitchFamily="2" charset="2"/>
              <a:buChar char="o"/>
            </a:pPr>
            <a:r>
              <a:rPr lang="es-ES" sz="1800" b="1">
                <a:solidFill>
                  <a:srgbClr val="000000"/>
                </a:solidFill>
                <a:latin typeface="Calibri Light"/>
                <a:ea typeface="Calibri Light"/>
                <a:cs typeface="Arial"/>
              </a:rPr>
              <a:t>Protocolos Abiertos</a:t>
            </a:r>
            <a:endParaRPr lang="en-US" sz="2000">
              <a:solidFill>
                <a:srgbClr val="1A3B47"/>
              </a:solidFill>
              <a:latin typeface="Calibri Light"/>
              <a:ea typeface="Calibri Light"/>
              <a:cs typeface="Arial"/>
            </a:endParaRPr>
          </a:p>
          <a:p>
            <a:pPr marL="742315" lvl="1" indent="-285750">
              <a:lnSpc>
                <a:spcPct val="90000"/>
              </a:lnSpc>
              <a:spcBef>
                <a:spcPts val="500"/>
              </a:spcBef>
              <a:buFont typeface="Courier New,monospace" panose="05000000000000000000" pitchFamily="2" charset="2"/>
              <a:buChar char="o"/>
            </a:pPr>
            <a:r>
              <a:rPr lang="es-ES" sz="1800" b="1">
                <a:solidFill>
                  <a:srgbClr val="000000"/>
                </a:solidFill>
                <a:latin typeface="Calibri Light"/>
                <a:ea typeface="Calibri Light"/>
                <a:cs typeface="Arial"/>
              </a:rPr>
              <a:t>Gran comunidad de código libre</a:t>
            </a:r>
          </a:p>
          <a:p>
            <a:pPr marL="285750" indent="-285750">
              <a:lnSpc>
                <a:spcPct val="90000"/>
              </a:lnSpc>
              <a:spcBef>
                <a:spcPts val="500"/>
              </a:spcBef>
              <a:buFont typeface="Calibri" panose="05000000000000000000" pitchFamily="2" charset="2"/>
              <a:buChar char="-"/>
            </a:pPr>
            <a:r>
              <a:rPr lang="es-ES" sz="2000" b="1">
                <a:solidFill>
                  <a:srgbClr val="000000"/>
                </a:solidFill>
                <a:latin typeface="Calibri Light"/>
                <a:ea typeface="Calibri Light"/>
                <a:cs typeface="Arial"/>
              </a:rPr>
              <a:t>Usos comunes</a:t>
            </a:r>
          </a:p>
          <a:p>
            <a:pPr marL="742315" lvl="1" indent="-285750">
              <a:lnSpc>
                <a:spcPct val="90000"/>
              </a:lnSpc>
              <a:spcBef>
                <a:spcPts val="500"/>
              </a:spcBef>
              <a:buFont typeface="Courier New,monospace" panose="05000000000000000000" pitchFamily="2" charset="2"/>
              <a:buChar char="o"/>
            </a:pPr>
            <a:r>
              <a:rPr lang="es-ES" sz="1800" b="1" err="1">
                <a:solidFill>
                  <a:srgbClr val="000000"/>
                </a:solidFill>
                <a:latin typeface="Calibri Light"/>
                <a:ea typeface="Calibri Light"/>
                <a:cs typeface="Arial"/>
              </a:rPr>
              <a:t>DeFi</a:t>
            </a:r>
            <a:r>
              <a:rPr lang="es-ES" sz="1800" b="1">
                <a:solidFill>
                  <a:srgbClr val="000000"/>
                </a:solidFill>
                <a:latin typeface="Calibri Light"/>
                <a:ea typeface="Calibri Light"/>
                <a:cs typeface="Arial"/>
              </a:rPr>
              <a:t> (Finanzas Descentralizadas)</a:t>
            </a:r>
            <a:endParaRPr lang="es-ES" sz="1800">
              <a:solidFill>
                <a:srgbClr val="1A3B47"/>
              </a:solidFill>
              <a:latin typeface="Calibri Light"/>
              <a:ea typeface="Calibri Light"/>
              <a:cs typeface="Arial"/>
            </a:endParaRPr>
          </a:p>
          <a:p>
            <a:pPr marL="742315" lvl="1" indent="-285750">
              <a:lnSpc>
                <a:spcPct val="90000"/>
              </a:lnSpc>
              <a:spcBef>
                <a:spcPts val="500"/>
              </a:spcBef>
              <a:buFont typeface="Courier New,monospace" panose="05000000000000000000" pitchFamily="2" charset="2"/>
              <a:buChar char="o"/>
            </a:pPr>
            <a:r>
              <a:rPr lang="es-ES" sz="1800" b="1" err="1">
                <a:solidFill>
                  <a:srgbClr val="000000"/>
                </a:solidFill>
                <a:latin typeface="Calibri Light"/>
                <a:ea typeface="Calibri Light"/>
                <a:cs typeface="Arial"/>
              </a:rPr>
              <a:t>NFTs</a:t>
            </a:r>
            <a:r>
              <a:rPr lang="es-ES" sz="1800" b="1">
                <a:solidFill>
                  <a:srgbClr val="000000"/>
                </a:solidFill>
                <a:latin typeface="Calibri Light"/>
                <a:ea typeface="Calibri Light"/>
                <a:cs typeface="Arial"/>
              </a:rPr>
              <a:t> (Tokens No Fungibles)</a:t>
            </a:r>
          </a:p>
          <a:p>
            <a:pPr marL="742315" lvl="1" indent="-285750">
              <a:lnSpc>
                <a:spcPct val="90000"/>
              </a:lnSpc>
              <a:spcBef>
                <a:spcPts val="500"/>
              </a:spcBef>
              <a:buFont typeface="Courier New,monospace" panose="05000000000000000000" pitchFamily="2" charset="2"/>
              <a:buChar char="o"/>
            </a:pPr>
            <a:r>
              <a:rPr lang="es-ES" sz="1800" b="1">
                <a:solidFill>
                  <a:srgbClr val="000000"/>
                </a:solidFill>
                <a:latin typeface="Calibri Light"/>
                <a:ea typeface="Calibri Light"/>
                <a:cs typeface="Arial"/>
              </a:rPr>
              <a:t>Almacenamiento (en la nube)</a:t>
            </a:r>
          </a:p>
          <a:p>
            <a:pPr marL="742315" lvl="1" indent="-285750">
              <a:lnSpc>
                <a:spcPct val="90000"/>
              </a:lnSpc>
              <a:spcBef>
                <a:spcPts val="500"/>
              </a:spcBef>
              <a:buFont typeface="Courier New,monospace" panose="05000000000000000000" pitchFamily="2" charset="2"/>
              <a:buChar char="o"/>
            </a:pPr>
            <a:r>
              <a:rPr lang="es-ES" sz="1800" b="1">
                <a:solidFill>
                  <a:srgbClr val="000000"/>
                </a:solidFill>
                <a:latin typeface="Calibri Light"/>
                <a:ea typeface="Calibri Light"/>
                <a:cs typeface="Arial"/>
              </a:rPr>
              <a:t>Contratos inteligentes</a:t>
            </a:r>
            <a:endParaRPr lang="es-ES" sz="1800" b="1">
              <a:solidFill>
                <a:srgbClr val="000000"/>
              </a:solidFill>
              <a:latin typeface="Calibri Light"/>
              <a:ea typeface="Calibri Ligh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31913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18703" y="390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518703" y="390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-1520819" y="1793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4264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4400" err="1">
                <a:latin typeface="Georgia"/>
              </a:rPr>
              <a:t>Dapps</a:t>
            </a:r>
            <a:r>
              <a:rPr lang="es-ES" sz="4400">
                <a:latin typeface="Georgia"/>
              </a:rPr>
              <a:t> y </a:t>
            </a:r>
            <a:r>
              <a:rPr lang="es-ES" sz="4400" err="1">
                <a:latin typeface="Georgia"/>
              </a:rPr>
              <a:t>frameworks</a:t>
            </a:r>
            <a:endParaRPr lang="es-ES" err="1"/>
          </a:p>
        </p:txBody>
      </p:sp>
      <p:sp>
        <p:nvSpPr>
          <p:cNvPr id="4" name="Marcador de contenido 3"/>
          <p:cNvSpPr>
            <a:spLocks noGrp="1"/>
          </p:cNvSpPr>
          <p:nvPr>
            <p:ph sz="quarter" idx="11"/>
          </p:nvPr>
        </p:nvSpPr>
        <p:spPr/>
        <p:txBody>
          <a:bodyPr lIns="91440" tIns="45720" rIns="91440" bIns="45720" anchor="t"/>
          <a:lstStyle/>
          <a:p>
            <a:r>
              <a:rPr lang="es-ES" sz="15950">
                <a:latin typeface="Georgia"/>
              </a:rPr>
              <a:t>02</a:t>
            </a:r>
            <a:endParaRPr lang="es-ES"/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12"/>
          </p:nvPr>
        </p:nvSpPr>
        <p:spPr/>
        <p:txBody>
          <a:bodyPr lIns="0" tIns="0" rIns="0" bIns="0" anchor="t"/>
          <a:lstStyle/>
          <a:p>
            <a:r>
              <a:rPr lang="es-ES">
                <a:cs typeface="Arial"/>
              </a:rPr>
              <a:t> 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074311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18703" y="390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518703" y="390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ítulo 22"/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es-ES" sz="2750">
                <a:latin typeface="Georgia"/>
              </a:rPr>
              <a:t>Índice</a:t>
            </a:r>
            <a:endParaRPr lang="es-ES"/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 anchor="t"/>
          <a:lstStyle/>
          <a:p>
            <a:r>
              <a:rPr lang="es-ES">
                <a:latin typeface="Arial"/>
                <a:cs typeface="Arial"/>
              </a:rPr>
              <a:t>01. Contratos inteligentes</a:t>
            </a:r>
            <a:endParaRPr lang="es-ES"/>
          </a:p>
          <a:p>
            <a:r>
              <a:rPr lang="es-ES">
                <a:latin typeface="Arial"/>
                <a:cs typeface="Arial"/>
              </a:rPr>
              <a:t>02. </a:t>
            </a:r>
            <a:r>
              <a:rPr lang="es-ES" err="1">
                <a:latin typeface="Arial"/>
                <a:cs typeface="Arial"/>
              </a:rPr>
              <a:t>Dapps</a:t>
            </a:r>
            <a:endParaRPr lang="es-ES" err="1">
              <a:cs typeface="Arial"/>
            </a:endParaRPr>
          </a:p>
          <a:p>
            <a:r>
              <a:rPr lang="es-ES">
                <a:latin typeface="Arial"/>
                <a:cs typeface="Arial"/>
              </a:rPr>
              <a:t>03. Características principales</a:t>
            </a:r>
          </a:p>
          <a:p>
            <a:r>
              <a:rPr lang="es-ES">
                <a:latin typeface="Arial"/>
                <a:cs typeface="Arial"/>
              </a:rPr>
              <a:t>04. </a:t>
            </a:r>
            <a:r>
              <a:rPr lang="es-ES" err="1">
                <a:latin typeface="Arial"/>
                <a:cs typeface="Arial"/>
              </a:rPr>
              <a:t>Frameworks</a:t>
            </a:r>
            <a:endParaRPr lang="es-ES">
              <a:latin typeface="Arial"/>
              <a:cs typeface="Arial"/>
            </a:endParaRPr>
          </a:p>
          <a:p>
            <a:r>
              <a:rPr lang="es-ES">
                <a:latin typeface="Arial"/>
                <a:cs typeface="Arial"/>
              </a:rPr>
              <a:t>05- Ejemplo de </a:t>
            </a:r>
            <a:r>
              <a:rPr lang="es-ES" err="1">
                <a:latin typeface="Arial"/>
                <a:cs typeface="Arial"/>
              </a:rPr>
              <a:t>Dapp</a:t>
            </a:r>
            <a:endParaRPr lang="es-ES" err="1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22032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BB5B4F-8A6A-BF7E-D334-8012FF029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en-US" sz="2750" err="1">
                <a:latin typeface="Georgia"/>
              </a:rPr>
              <a:t>Contratos</a:t>
            </a:r>
            <a:r>
              <a:rPr lang="en-US" sz="2750">
                <a:latin typeface="Georgia"/>
              </a:rPr>
              <a:t> </a:t>
            </a:r>
            <a:r>
              <a:rPr lang="en-US" sz="2750" err="1">
                <a:latin typeface="Georgia"/>
              </a:rPr>
              <a:t>inteligentes</a:t>
            </a:r>
            <a:r>
              <a:rPr lang="en-US" sz="2750">
                <a:latin typeface="Georgia"/>
              </a:rPr>
              <a:t> (</a:t>
            </a:r>
            <a:r>
              <a:rPr lang="es-ES" sz="2750" err="1">
                <a:latin typeface="Georgia"/>
              </a:rPr>
              <a:t>smart</a:t>
            </a:r>
            <a:r>
              <a:rPr lang="es-ES" sz="2750">
                <a:latin typeface="Georgia"/>
              </a:rPr>
              <a:t> </a:t>
            </a:r>
            <a:r>
              <a:rPr lang="es-ES" sz="2750" err="1">
                <a:latin typeface="Georgia"/>
              </a:rPr>
              <a:t>contracts</a:t>
            </a:r>
            <a:r>
              <a:rPr lang="en-US" sz="2750">
                <a:latin typeface="Georgia"/>
              </a:rPr>
              <a:t>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E89199-5490-3D0F-D60C-A6E05EC6C9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2000" y="1510242"/>
            <a:ext cx="5815245" cy="3577167"/>
          </a:xfrm>
        </p:spPr>
        <p:txBody>
          <a:bodyPr lIns="0" tIns="0" rIns="0" bIns="0" anchor="t"/>
          <a:lstStyle/>
          <a:p>
            <a: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</a:pPr>
            <a:r>
              <a:rPr lang="es-ES" sz="2000" b="1" u="sng">
                <a:solidFill>
                  <a:srgbClr val="404040"/>
                </a:solidFill>
                <a:latin typeface="Calibri Light"/>
                <a:cs typeface="Calibri Light"/>
              </a:rPr>
              <a:t>Los contratos inteligentes son contratos</a:t>
            </a:r>
            <a:r>
              <a:rPr lang="es-ES" sz="2000">
                <a:solidFill>
                  <a:srgbClr val="404040"/>
                </a:solidFill>
                <a:latin typeface="Calibri Light"/>
                <a:cs typeface="Calibri Light"/>
              </a:rPr>
              <a:t> digitales almacenados en una cadena de bloques que se ejecutan automáticamente cuando se cumplen los términos y condiciones predeterminados.</a:t>
            </a:r>
            <a:endParaRPr lang="en-US" sz="2000">
              <a:solidFill>
                <a:srgbClr val="000000"/>
              </a:solidFill>
              <a:latin typeface="Calibri Light"/>
              <a:cs typeface="Calibri Light"/>
            </a:endParaRPr>
          </a:p>
          <a:p>
            <a: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</a:pPr>
            <a:r>
              <a:rPr lang="es-ES" sz="2000">
                <a:solidFill>
                  <a:srgbClr val="404040"/>
                </a:solidFill>
                <a:latin typeface="Calibri Light"/>
                <a:cs typeface="Calibri Light"/>
              </a:rPr>
              <a:t>Para poner en marcha los contratos inteligentes, han ido apareciendo diferentes plataformas que permiten a los usuarios firmar contratos sin la intervención de intermediarios.</a:t>
            </a:r>
            <a:endParaRPr lang="en-US" sz="2000">
              <a:solidFill>
                <a:srgbClr val="000000"/>
              </a:solidFill>
              <a:latin typeface="Calibri Light"/>
              <a:cs typeface="Calibri Light"/>
            </a:endParaRPr>
          </a:p>
          <a:p>
            <a:endParaRPr lang="en-US">
              <a:cs typeface="Arial"/>
            </a:endParaRPr>
          </a:p>
        </p:txBody>
      </p:sp>
      <p:pic>
        <p:nvPicPr>
          <p:cNvPr id="4" name="Picture 3" descr="Smart Contracts. Una guía para entender los contratos inteligentes">
            <a:extLst>
              <a:ext uri="{FF2B5EF4-FFF2-40B4-BE49-F238E27FC236}">
                <a16:creationId xmlns:a16="http://schemas.microsoft.com/office/drawing/2014/main" id="{7F056C03-74EB-7FCE-2105-A70490394B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567" y="3889254"/>
            <a:ext cx="4825582" cy="2429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8877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Dapp  - </a:t>
            </a:r>
            <a:r>
              <a:rPr lang="es-ES">
                <a:latin typeface="Georgia"/>
              </a:rPr>
              <a:t>aplicación descentralizada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 lIns="0" tIns="45720" rIns="91440" bIns="45720" anchor="t" anchorCtr="0">
            <a:noAutofit/>
          </a:bodyPr>
          <a:lstStyle/>
          <a:p>
            <a:r>
              <a:rPr lang="es-ES"/>
              <a:t>          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-1176953" y="6120245"/>
            <a:ext cx="1900800" cy="2610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ES" sz="800" baseline="30000">
                <a:latin typeface="Arial" panose="020B0604020202020204" pitchFamily="34" charset="0"/>
              </a:rPr>
              <a:t>(1) </a:t>
            </a:r>
            <a:r>
              <a:rPr lang="es-ES" sz="800" err="1">
                <a:latin typeface="Arial" panose="020B0604020202020204" pitchFamily="34" charset="0"/>
              </a:rPr>
              <a:t>Xxxxx</a:t>
            </a:r>
            <a:endParaRPr lang="es-ES" sz="800">
              <a:latin typeface="Arial" panose="020B0604020202020204" pitchFamily="34" charset="0"/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248682" y="1417205"/>
            <a:ext cx="8621178" cy="290126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</a:pPr>
            <a:r>
              <a:rPr lang="es-ES" sz="2000">
                <a:solidFill>
                  <a:srgbClr val="404040"/>
                </a:solidFill>
                <a:latin typeface="Calibri Light"/>
                <a:cs typeface="Calibri Light"/>
              </a:rPr>
              <a:t>Una </a:t>
            </a:r>
            <a:r>
              <a:rPr lang="es-ES" sz="2000" err="1">
                <a:solidFill>
                  <a:srgbClr val="404040"/>
                </a:solidFill>
                <a:latin typeface="Calibri Light"/>
                <a:cs typeface="Calibri Light"/>
              </a:rPr>
              <a:t>Dapp</a:t>
            </a:r>
            <a:r>
              <a:rPr lang="es-ES" sz="2000">
                <a:solidFill>
                  <a:srgbClr val="404040"/>
                </a:solidFill>
                <a:latin typeface="Calibri Light"/>
                <a:cs typeface="Calibri Light"/>
              </a:rPr>
              <a:t> es una aplicación descentralizada que ejecutan su lógica principal en una cadena de bloques. La programación y la interacción entre los usuarios se llevan a cabo a través de operaciones automatizadas llamadas contratos inteligentes.</a:t>
            </a:r>
            <a:endParaRPr lang="en-US" sz="2000">
              <a:solidFill>
                <a:srgbClr val="404040"/>
              </a:solidFill>
              <a:latin typeface="Calibri Light"/>
              <a:cs typeface="Calibri Light"/>
            </a:endParaRPr>
          </a:p>
          <a:p>
            <a:pPr>
              <a:spcBef>
                <a:spcPts val="800"/>
              </a:spcBef>
            </a:pPr>
            <a:endParaRPr lang="es-ES" sz="1200">
              <a:latin typeface="Arial"/>
              <a:cs typeface="Arial"/>
            </a:endParaRPr>
          </a:p>
          <a:p>
            <a:pPr marL="227965" indent="-227965"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s-E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Qué son las DApps o Aplicaciones Descentralizadas y varios ejemplos">
            <a:extLst>
              <a:ext uri="{FF2B5EF4-FFF2-40B4-BE49-F238E27FC236}">
                <a16:creationId xmlns:a16="http://schemas.microsoft.com/office/drawing/2014/main" id="{D4360C21-6425-7C04-F237-1E7C0A8F680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596" t="480" r="2022" b="4187"/>
          <a:stretch/>
        </p:blipFill>
        <p:spPr>
          <a:xfrm>
            <a:off x="2110792" y="2471689"/>
            <a:ext cx="4658469" cy="3655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961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4343313"/>
              </p:ext>
            </p:extLst>
          </p:nvPr>
        </p:nvGraphicFramePr>
        <p:xfrm>
          <a:off x="-1518703" y="390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7" name="Objeto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518703" y="390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 hidden="1"/>
          <p:cNvSpPr/>
          <p:nvPr>
            <p:custDataLst>
              <p:tags r:id="rId2"/>
            </p:custDataLst>
          </p:nvPr>
        </p:nvSpPr>
        <p:spPr>
          <a:xfrm>
            <a:off x="-1520819" y="1793"/>
            <a:ext cx="211556" cy="2115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7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C333AEF-2B22-2F45-A55D-C1FC3C31F1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 err="1">
                <a:solidFill>
                  <a:srgbClr val="404040"/>
                </a:solidFill>
                <a:latin typeface="Calibri Light"/>
                <a:cs typeface="Calibri Light"/>
              </a:rPr>
              <a:t>Características</a:t>
            </a:r>
            <a:r>
              <a:rPr lang="en-US" sz="4800">
                <a:solidFill>
                  <a:srgbClr val="404040"/>
                </a:solidFill>
                <a:latin typeface="Calibri Light"/>
                <a:cs typeface="Calibri Light"/>
              </a:rPr>
              <a:t> </a:t>
            </a:r>
            <a:r>
              <a:rPr lang="en-US" sz="4800" err="1">
                <a:solidFill>
                  <a:srgbClr val="404040"/>
                </a:solidFill>
                <a:latin typeface="Calibri Light"/>
                <a:cs typeface="Calibri Light"/>
              </a:rPr>
              <a:t>principales</a:t>
            </a:r>
            <a:endParaRPr lang="en-US" err="1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13"/>
          </p:nvPr>
        </p:nvSpPr>
        <p:spPr/>
        <p:txBody>
          <a:bodyPr lIns="0" tIns="45720" rIns="91440" bIns="45720" anchor="t" anchorCtr="0">
            <a:noAutofit/>
          </a:bodyPr>
          <a:lstStyle/>
          <a:p>
            <a:r>
              <a:rPr lang="es-ES">
                <a:latin typeface="Arial"/>
                <a:cs typeface="Arial"/>
              </a:rPr>
              <a:t>           </a:t>
            </a:r>
            <a:endParaRPr lang="es-ES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7B3D5BFA-F3F7-9346-9654-635BCA189701}"/>
              </a:ext>
            </a:extLst>
          </p:cNvPr>
          <p:cNvSpPr/>
          <p:nvPr/>
        </p:nvSpPr>
        <p:spPr>
          <a:xfrm>
            <a:off x="208388" y="1489522"/>
            <a:ext cx="2612998" cy="23050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>
              <a:latin typeface="Arial" panose="020B0604020202020204" pitchFamily="34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426C43C6-82ED-BE48-86D3-73FCA8869914}"/>
              </a:ext>
            </a:extLst>
          </p:cNvPr>
          <p:cNvSpPr/>
          <p:nvPr/>
        </p:nvSpPr>
        <p:spPr>
          <a:xfrm>
            <a:off x="3284085" y="1489524"/>
            <a:ext cx="2470511" cy="23050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>
              <a:latin typeface="Arial" panose="020B0604020202020204" pitchFamily="34" charset="0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89F5F0D6-AF17-614D-9EC4-E327FAC0A8C3}"/>
              </a:ext>
            </a:extLst>
          </p:cNvPr>
          <p:cNvSpPr/>
          <p:nvPr/>
        </p:nvSpPr>
        <p:spPr>
          <a:xfrm>
            <a:off x="6214914" y="1489524"/>
            <a:ext cx="2585540" cy="23050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>
              <a:latin typeface="Arial" panose="020B0604020202020204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63FD376B-9D26-5F44-94C1-5B93944180C6}"/>
              </a:ext>
            </a:extLst>
          </p:cNvPr>
          <p:cNvSpPr/>
          <p:nvPr/>
        </p:nvSpPr>
        <p:spPr>
          <a:xfrm>
            <a:off x="207117" y="3976807"/>
            <a:ext cx="2588229" cy="230504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>
              <a:latin typeface="Arial" panose="020B0604020202020204" pitchFamily="34" charset="0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E06F29FF-B8DB-BE49-9A07-63E165A5B0CA}"/>
              </a:ext>
            </a:extLst>
          </p:cNvPr>
          <p:cNvSpPr/>
          <p:nvPr/>
        </p:nvSpPr>
        <p:spPr>
          <a:xfrm>
            <a:off x="3285690" y="3976807"/>
            <a:ext cx="2445991" cy="230504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>
              <a:latin typeface="Arial" panose="020B0604020202020204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212B5105-A16B-E54B-9C47-F347A5582056}"/>
              </a:ext>
            </a:extLst>
          </p:cNvPr>
          <p:cNvSpPr/>
          <p:nvPr/>
        </p:nvSpPr>
        <p:spPr>
          <a:xfrm>
            <a:off x="6211648" y="3976807"/>
            <a:ext cx="2591050" cy="23050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000">
              <a:latin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704F230-53BF-36A3-73DF-40A60C58C6A6}"/>
              </a:ext>
            </a:extLst>
          </p:cNvPr>
          <p:cNvSpPr txBox="1"/>
          <p:nvPr/>
        </p:nvSpPr>
        <p:spPr>
          <a:xfrm>
            <a:off x="487789" y="2441599"/>
            <a:ext cx="2014235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000" b="1" err="1">
                <a:solidFill>
                  <a:schemeClr val="bg1"/>
                </a:solidFill>
                <a:latin typeface="Calibri Light"/>
                <a:cs typeface="Calibri Light"/>
              </a:rPr>
              <a:t>Descentralización</a:t>
            </a:r>
            <a:endParaRPr lang="en-US" sz="2000" b="1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6D32DE-3D50-9061-6AB3-65875301AE42}"/>
              </a:ext>
            </a:extLst>
          </p:cNvPr>
          <p:cNvSpPr txBox="1"/>
          <p:nvPr/>
        </p:nvSpPr>
        <p:spPr>
          <a:xfrm>
            <a:off x="6497524" y="2441598"/>
            <a:ext cx="2014235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800" b="1" err="1">
                <a:solidFill>
                  <a:schemeClr val="bg1"/>
                </a:solidFill>
                <a:latin typeface="Calibri"/>
                <a:cs typeface="Calibri"/>
              </a:rPr>
              <a:t>Transparencia</a:t>
            </a:r>
            <a:r>
              <a:rPr lang="en-US" sz="1800" b="1">
                <a:solidFill>
                  <a:schemeClr val="bg1"/>
                </a:solidFill>
                <a:latin typeface="Calibri"/>
                <a:cs typeface="Calibri"/>
              </a:rPr>
              <a:t> y Seguridad</a:t>
            </a:r>
          </a:p>
          <a:p>
            <a:pPr algn="l"/>
            <a:endParaRPr lang="en-US" sz="2000" b="1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16C2CC6-5197-49BA-2880-7B7F93D2BE4D}"/>
              </a:ext>
            </a:extLst>
          </p:cNvPr>
          <p:cNvSpPr txBox="1"/>
          <p:nvPr/>
        </p:nvSpPr>
        <p:spPr>
          <a:xfrm>
            <a:off x="3564544" y="2441599"/>
            <a:ext cx="2014235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800" b="1" err="1">
                <a:solidFill>
                  <a:schemeClr val="bg1"/>
                </a:solidFill>
                <a:latin typeface="Calibri"/>
                <a:cs typeface="Calibri"/>
              </a:rPr>
              <a:t>Utiliza</a:t>
            </a:r>
            <a:r>
              <a:rPr lang="en-US" sz="1800" b="1">
                <a:solidFill>
                  <a:schemeClr val="bg1"/>
                </a:solidFill>
                <a:latin typeface="Calibri"/>
                <a:cs typeface="Calibri"/>
              </a:rPr>
              <a:t> </a:t>
            </a:r>
            <a:r>
              <a:rPr lang="en-US" sz="1800" b="1" err="1">
                <a:solidFill>
                  <a:schemeClr val="bg1"/>
                </a:solidFill>
                <a:latin typeface="Calibri"/>
                <a:cs typeface="Calibri"/>
              </a:rPr>
              <a:t>contratos</a:t>
            </a:r>
            <a:r>
              <a:rPr lang="en-US" sz="1800" b="1">
                <a:solidFill>
                  <a:schemeClr val="bg1"/>
                </a:solidFill>
                <a:latin typeface="Calibri"/>
                <a:cs typeface="Calibri"/>
              </a:rPr>
              <a:t> </a:t>
            </a:r>
            <a:r>
              <a:rPr lang="en-US" sz="1800" b="1" err="1">
                <a:solidFill>
                  <a:schemeClr val="bg1"/>
                </a:solidFill>
                <a:latin typeface="Calibri"/>
                <a:cs typeface="Calibri"/>
              </a:rPr>
              <a:t>inteligentes</a:t>
            </a:r>
            <a:endParaRPr lang="en-US" sz="1800" b="1">
              <a:solidFill>
                <a:schemeClr val="bg1"/>
              </a:solidFill>
              <a:latin typeface="Calibri"/>
              <a:cs typeface="Calibri"/>
            </a:endParaRPr>
          </a:p>
          <a:p>
            <a:pPr algn="l"/>
            <a:endParaRPr lang="en-US" sz="2000" b="1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256F149-EE54-7A8F-57C0-D7F0A344846B}"/>
              </a:ext>
            </a:extLst>
          </p:cNvPr>
          <p:cNvSpPr txBox="1"/>
          <p:nvPr/>
        </p:nvSpPr>
        <p:spPr>
          <a:xfrm>
            <a:off x="487788" y="4928881"/>
            <a:ext cx="2014235" cy="67710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800" b="1" err="1">
                <a:solidFill>
                  <a:schemeClr val="bg1"/>
                </a:solidFill>
                <a:latin typeface="Calibri"/>
                <a:cs typeface="Calibri"/>
              </a:rPr>
              <a:t>Tokenización</a:t>
            </a:r>
            <a:endParaRPr lang="en-US" sz="1800" b="1">
              <a:solidFill>
                <a:schemeClr val="bg1"/>
              </a:solidFill>
              <a:latin typeface="Calibri"/>
              <a:cs typeface="Calibri"/>
            </a:endParaRPr>
          </a:p>
          <a:p>
            <a:pPr algn="l"/>
            <a:endParaRPr lang="en-US" sz="2000" b="1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06878D7-C638-A8D3-1386-E07C5CECEAB1}"/>
              </a:ext>
            </a:extLst>
          </p:cNvPr>
          <p:cNvSpPr txBox="1"/>
          <p:nvPr/>
        </p:nvSpPr>
        <p:spPr>
          <a:xfrm>
            <a:off x="3507034" y="4928882"/>
            <a:ext cx="2014235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800" b="1" err="1">
                <a:solidFill>
                  <a:schemeClr val="bg1"/>
                </a:solidFill>
                <a:latin typeface="Calibri"/>
                <a:cs typeface="Calibri"/>
              </a:rPr>
              <a:t>Interacción</a:t>
            </a:r>
            <a:r>
              <a:rPr lang="en-US" sz="1800" b="1">
                <a:solidFill>
                  <a:schemeClr val="bg1"/>
                </a:solidFill>
                <a:latin typeface="Calibri"/>
                <a:cs typeface="Calibri"/>
              </a:rPr>
              <a:t> </a:t>
            </a:r>
            <a:r>
              <a:rPr lang="en-US" sz="1800" b="1" err="1">
                <a:solidFill>
                  <a:schemeClr val="bg1"/>
                </a:solidFill>
                <a:latin typeface="Calibri"/>
                <a:cs typeface="Calibri"/>
              </a:rPr>
              <a:t>directa</a:t>
            </a:r>
            <a:r>
              <a:rPr lang="en-US" sz="1800" b="1">
                <a:solidFill>
                  <a:schemeClr val="bg1"/>
                </a:solidFill>
                <a:latin typeface="Calibri"/>
                <a:cs typeface="Calibri"/>
              </a:rPr>
              <a:t> con </a:t>
            </a:r>
            <a:r>
              <a:rPr lang="en-US" sz="1800" b="1" err="1">
                <a:solidFill>
                  <a:schemeClr val="bg1"/>
                </a:solidFill>
                <a:latin typeface="Calibri"/>
                <a:cs typeface="Calibri"/>
              </a:rPr>
              <a:t>usuarios</a:t>
            </a:r>
            <a:endParaRPr lang="en-US" sz="1800" b="1">
              <a:solidFill>
                <a:schemeClr val="bg1"/>
              </a:solidFill>
              <a:latin typeface="Calibri"/>
              <a:cs typeface="Calibri"/>
            </a:endParaRPr>
          </a:p>
          <a:p>
            <a:pPr algn="l"/>
            <a:endParaRPr lang="en-US" sz="2000" b="1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CED25BE-7FAB-37D7-C6D2-D03298537376}"/>
              </a:ext>
            </a:extLst>
          </p:cNvPr>
          <p:cNvSpPr txBox="1"/>
          <p:nvPr/>
        </p:nvSpPr>
        <p:spPr>
          <a:xfrm>
            <a:off x="6497524" y="4928881"/>
            <a:ext cx="2014235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800" b="1" err="1">
                <a:solidFill>
                  <a:schemeClr val="bg1"/>
                </a:solidFill>
                <a:latin typeface="Calibri"/>
                <a:cs typeface="Calibri"/>
              </a:rPr>
              <a:t>Actualizaciones</a:t>
            </a:r>
            <a:r>
              <a:rPr lang="en-US" sz="1800" b="1">
                <a:solidFill>
                  <a:schemeClr val="bg1"/>
                </a:solidFill>
                <a:latin typeface="Calibri"/>
                <a:cs typeface="Calibri"/>
              </a:rPr>
              <a:t> </a:t>
            </a:r>
            <a:r>
              <a:rPr lang="en-US" sz="1800" b="1" err="1">
                <a:solidFill>
                  <a:schemeClr val="bg1"/>
                </a:solidFill>
                <a:latin typeface="Calibri"/>
                <a:cs typeface="Calibri"/>
              </a:rPr>
              <a:t>transparentes</a:t>
            </a:r>
            <a:endParaRPr lang="en-US" sz="1800" b="1">
              <a:solidFill>
                <a:schemeClr val="bg1"/>
              </a:solidFill>
              <a:latin typeface="Calibri"/>
              <a:cs typeface="Calibri"/>
            </a:endParaRPr>
          </a:p>
          <a:p>
            <a:pPr algn="l"/>
            <a:endParaRPr lang="en-US" sz="2000" b="1">
              <a:solidFill>
                <a:schemeClr val="bg1"/>
              </a:solidFill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32888256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564625"/>
              </p:ext>
            </p:extLst>
          </p:nvPr>
        </p:nvGraphicFramePr>
        <p:xfrm>
          <a:off x="-1518703" y="390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518703" y="390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-1520819" y="1793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7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Frameworks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 lIns="0" tIns="45720" rIns="91440" bIns="45720" anchor="t" anchorCtr="0">
            <a:noAutofit/>
          </a:bodyPr>
          <a:lstStyle/>
          <a:p>
            <a:r>
              <a:rPr lang="es-ES">
                <a:latin typeface="Arial"/>
                <a:cs typeface="Arial"/>
              </a:rPr>
              <a:t>             </a:t>
            </a: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A1C9564C-69A9-2F71-6E75-DC649DB8AA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8231453"/>
              </p:ext>
            </p:extLst>
          </p:nvPr>
        </p:nvGraphicFramePr>
        <p:xfrm>
          <a:off x="28754" y="2084716"/>
          <a:ext cx="9121089" cy="403012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096422">
                  <a:extLst>
                    <a:ext uri="{9D8B030D-6E8A-4147-A177-3AD203B41FA5}">
                      <a16:colId xmlns:a16="http://schemas.microsoft.com/office/drawing/2014/main" val="2117101135"/>
                    </a:ext>
                  </a:extLst>
                </a:gridCol>
                <a:gridCol w="1442239">
                  <a:extLst>
                    <a:ext uri="{9D8B030D-6E8A-4147-A177-3AD203B41FA5}">
                      <a16:colId xmlns:a16="http://schemas.microsoft.com/office/drawing/2014/main" val="3065275970"/>
                    </a:ext>
                  </a:extLst>
                </a:gridCol>
                <a:gridCol w="1515932">
                  <a:extLst>
                    <a:ext uri="{9D8B030D-6E8A-4147-A177-3AD203B41FA5}">
                      <a16:colId xmlns:a16="http://schemas.microsoft.com/office/drawing/2014/main" val="2844126516"/>
                    </a:ext>
                  </a:extLst>
                </a:gridCol>
                <a:gridCol w="1442246">
                  <a:extLst>
                    <a:ext uri="{9D8B030D-6E8A-4147-A177-3AD203B41FA5}">
                      <a16:colId xmlns:a16="http://schemas.microsoft.com/office/drawing/2014/main" val="3102028902"/>
                    </a:ext>
                  </a:extLst>
                </a:gridCol>
                <a:gridCol w="1326446">
                  <a:extLst>
                    <a:ext uri="{9D8B030D-6E8A-4147-A177-3AD203B41FA5}">
                      <a16:colId xmlns:a16="http://schemas.microsoft.com/office/drawing/2014/main" val="3676884751"/>
                    </a:ext>
                  </a:extLst>
                </a:gridCol>
                <a:gridCol w="1297804">
                  <a:extLst>
                    <a:ext uri="{9D8B030D-6E8A-4147-A177-3AD203B41FA5}">
                      <a16:colId xmlns:a16="http://schemas.microsoft.com/office/drawing/2014/main" val="665185941"/>
                    </a:ext>
                  </a:extLst>
                </a:gridCol>
              </a:tblGrid>
              <a:tr h="317500">
                <a:tc>
                  <a:txBody>
                    <a:bodyPr/>
                    <a:lstStyle/>
                    <a:p>
                      <a:pPr algn="ctr" rtl="0" fontAlgn="auto"/>
                      <a:endParaRPr lang="es-ES" sz="11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526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600" b="1" err="1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Truffle</a:t>
                      </a:r>
                      <a:endParaRPr lang="es-ES" b="1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526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600" b="1" err="1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Embark</a:t>
                      </a:r>
                      <a:endParaRPr lang="es-ES" b="1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526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600" b="1" err="1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Hardhat</a:t>
                      </a:r>
                      <a:endParaRPr lang="es-ES" b="1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526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600" b="1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Brownie</a:t>
                      </a:r>
                      <a:endParaRPr lang="es-ES" b="1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526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600" b="1" err="1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Waffle</a:t>
                      </a:r>
                      <a:endParaRPr lang="es-ES" b="1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7526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612613"/>
                  </a:ext>
                </a:extLst>
              </a:tr>
              <a:tr h="211254"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Utiliza </a:t>
                      </a:r>
                      <a:r>
                        <a:rPr lang="es-ES" sz="1200" b="1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olidity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526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526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526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526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526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7526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0639308"/>
                  </a:ext>
                </a:extLst>
              </a:tr>
              <a:tr h="211254"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Lenguaje </a:t>
                      </a:r>
                      <a:r>
                        <a:rPr lang="es-ES" sz="1200" b="1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compatiple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Typescript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Typescript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Typescript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Python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Typescript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0001231"/>
                  </a:ext>
                </a:extLst>
              </a:tr>
              <a:tr h="211254"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Incluye </a:t>
                      </a:r>
                      <a:r>
                        <a:rPr lang="es-ES" sz="1200" b="1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framework</a:t>
                      </a:r>
                      <a:r>
                        <a:rPr lang="es-E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 de pruebas 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9996202"/>
                  </a:ext>
                </a:extLst>
              </a:tr>
              <a:tr h="211254"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200" b="1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Testing</a:t>
                      </a:r>
                      <a:r>
                        <a:rPr lang="es-E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es-ES" sz="1200" b="1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framework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ocha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ocha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ocha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Pytest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ocha y Chai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5202491"/>
                  </a:ext>
                </a:extLst>
              </a:tr>
              <a:tr h="385229"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Integrar bibliotecas y herramientas externas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9913871"/>
                  </a:ext>
                </a:extLst>
              </a:tr>
              <a:tr h="571629"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Permite desplegar y compilar los contratos en diversas redes Ethereum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 (Ganache, </a:t>
                      </a:r>
                      <a:r>
                        <a:rPr lang="es-ES" sz="11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Ropsten</a:t>
                      </a:r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, </a:t>
                      </a:r>
                      <a:r>
                        <a:rPr lang="es-ES" sz="11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ainnet</a:t>
                      </a:r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)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 (Ganache, </a:t>
                      </a:r>
                      <a:r>
                        <a:rPr lang="es-ES" sz="11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Ropsten</a:t>
                      </a:r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, </a:t>
                      </a:r>
                      <a:r>
                        <a:rPr lang="es-ES" sz="11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ainnet</a:t>
                      </a:r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)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 (Ganache, </a:t>
                      </a:r>
                      <a:r>
                        <a:rPr lang="es-ES" sz="11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Ropsten</a:t>
                      </a:r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, </a:t>
                      </a:r>
                      <a:r>
                        <a:rPr lang="es-ES" sz="11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ainnet</a:t>
                      </a:r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)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No (Ganache)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No (Ganache)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5304006"/>
                  </a:ext>
                </a:extLst>
              </a:tr>
              <a:tr h="1093554"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e enfoca en la integración con IPFS 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  <a:p>
                      <a:pPr algn="ctr" rtl="0" fontAlgn="base"/>
                      <a:r>
                        <a:rPr lang="es-E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(</a:t>
                      </a:r>
                      <a:r>
                        <a:rPr lang="es-ES" sz="12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InterPlanetary</a:t>
                      </a:r>
                      <a:r>
                        <a:rPr lang="es-E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 File </a:t>
                      </a:r>
                      <a:r>
                        <a:rPr lang="es-ES" sz="120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ystem</a:t>
                      </a:r>
                      <a:r>
                        <a:rPr lang="es-E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, es un sistema de archivo descentralizado que busca garantizar la seguridad</a:t>
                      </a:r>
                      <a:r>
                        <a:rPr lang="es-E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)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No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í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No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No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No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5616219"/>
                  </a:ext>
                </a:extLst>
              </a:tr>
              <a:tr h="695897"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Popularidad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Ampliamente adoptado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uy conocido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uy conocido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uy conocido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Sobre todo, para la comunidad de Python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s-ES" sz="11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/>
                        </a:rPr>
                        <a:t>Menos conocido, pero apreciado por su simplicidad</a:t>
                      </a:r>
                      <a:endParaRPr lang="es-ES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7367" marR="37367" marT="18679" marB="18679">
                    <a:lnL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8C4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383498"/>
                  </a:ext>
                </a:extLst>
              </a:tr>
            </a:tbl>
          </a:graphicData>
        </a:graphic>
      </p:graphicFrame>
      <p:sp>
        <p:nvSpPr>
          <p:cNvPr id="68" name="Rectangle 67">
            <a:extLst>
              <a:ext uri="{FF2B5EF4-FFF2-40B4-BE49-F238E27FC236}">
                <a16:creationId xmlns:a16="http://schemas.microsoft.com/office/drawing/2014/main" id="{33428ACC-71EC-4171-9527-10983BA6B4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 bwMode="white">
          <a:xfrm>
            <a:off x="0" y="0"/>
            <a:ext cx="12192001" cy="63343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9" name="Picture 68" descr="Truffle Logo">
            <a:extLst>
              <a:ext uri="{FF2B5EF4-FFF2-40B4-BE49-F238E27FC236}">
                <a16:creationId xmlns:a16="http://schemas.microsoft.com/office/drawing/2014/main" id="{1F0AC0EF-F45E-5F11-A04A-AF4D4369F2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52469" y="1256902"/>
            <a:ext cx="696773" cy="658312"/>
          </a:xfrm>
          <a:prstGeom prst="rect">
            <a:avLst/>
          </a:prstGeom>
        </p:spPr>
      </p:pic>
      <p:pic>
        <p:nvPicPr>
          <p:cNvPr id="70" name="Picture 69" descr="Waffle Smart Contract Testing Framework | Moonbeam Network">
            <a:extLst>
              <a:ext uri="{FF2B5EF4-FFF2-40B4-BE49-F238E27FC236}">
                <a16:creationId xmlns:a16="http://schemas.microsoft.com/office/drawing/2014/main" id="{142E7A27-04AE-3120-2573-A03A9D3CFC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77774" y="1176634"/>
            <a:ext cx="1666152" cy="828314"/>
          </a:xfrm>
          <a:prstGeom prst="rect">
            <a:avLst/>
          </a:prstGeom>
        </p:spPr>
      </p:pic>
      <p:pic>
        <p:nvPicPr>
          <p:cNvPr id="71" name="Picture 70" descr="Hardhat">
            <a:extLst>
              <a:ext uri="{FF2B5EF4-FFF2-40B4-BE49-F238E27FC236}">
                <a16:creationId xmlns:a16="http://schemas.microsoft.com/office/drawing/2014/main" id="{C90FE522-5E4B-3744-437B-DE3FDE84C9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00682" y="1219608"/>
            <a:ext cx="871959" cy="867212"/>
          </a:xfrm>
          <a:prstGeom prst="rect">
            <a:avLst/>
          </a:prstGeom>
        </p:spPr>
      </p:pic>
      <p:pic>
        <p:nvPicPr>
          <p:cNvPr id="72" name="Picture 71" descr="A logo with a chef in a circle&#10;&#10;Description automatically generated">
            <a:extLst>
              <a:ext uri="{FF2B5EF4-FFF2-40B4-BE49-F238E27FC236}">
                <a16:creationId xmlns:a16="http://schemas.microsoft.com/office/drawing/2014/main" id="{302C86F9-3A9B-D294-B754-4164566436F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77663" y="958525"/>
            <a:ext cx="1115752" cy="1024119"/>
          </a:xfrm>
          <a:prstGeom prst="rect">
            <a:avLst/>
          </a:prstGeom>
        </p:spPr>
      </p:pic>
      <p:pic>
        <p:nvPicPr>
          <p:cNvPr id="73" name="Picture 72" descr="GitHub - embarklabs/embark: Framework for serverless Decentralized  Applications using Ethereum, IPFS and other platforms">
            <a:extLst>
              <a:ext uri="{FF2B5EF4-FFF2-40B4-BE49-F238E27FC236}">
                <a16:creationId xmlns:a16="http://schemas.microsoft.com/office/drawing/2014/main" id="{13CE70A2-A78C-312F-61CC-C6C580BCB83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37468" y="1164547"/>
            <a:ext cx="814087" cy="823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733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F2D8E1A-9833-6F34-9292-5B12C6F34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668" y="981458"/>
            <a:ext cx="8263350" cy="744141"/>
          </a:xfrm>
        </p:spPr>
        <p:txBody>
          <a:bodyPr lIns="0" tIns="0" rIns="0" bIns="0" anchor="t"/>
          <a:lstStyle/>
          <a:p>
            <a:r>
              <a:rPr lang="es-ES" sz="2750">
                <a:latin typeface="Georgia"/>
              </a:rPr>
              <a:t>Trabajar con una </a:t>
            </a:r>
            <a:r>
              <a:rPr lang="es-ES" sz="2750" err="1">
                <a:latin typeface="Georgia"/>
              </a:rPr>
              <a:t>blockchain</a:t>
            </a:r>
            <a:endParaRPr lang="es-ES" sz="2750" err="1"/>
          </a:p>
        </p:txBody>
      </p:sp>
      <p:graphicFrame>
        <p:nvGraphicFramePr>
          <p:cNvPr id="4" name="Marcador de contenido 2">
            <a:extLst>
              <a:ext uri="{FF2B5EF4-FFF2-40B4-BE49-F238E27FC236}">
                <a16:creationId xmlns:a16="http://schemas.microsoft.com/office/drawing/2014/main" id="{30C47F55-CCA0-AE7C-323A-BED9B07CBF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133890"/>
              </p:ext>
            </p:extLst>
          </p:nvPr>
        </p:nvGraphicFramePr>
        <p:xfrm>
          <a:off x="-430983" y="2986682"/>
          <a:ext cx="9111387" cy="30344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878633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18703" y="390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7" name="Objeto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518703" y="390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 hidden="1"/>
          <p:cNvSpPr/>
          <p:nvPr>
            <p:custDataLst>
              <p:tags r:id="rId2"/>
            </p:custDataLst>
          </p:nvPr>
        </p:nvSpPr>
        <p:spPr>
          <a:xfrm>
            <a:off x="-1520819" y="1793"/>
            <a:ext cx="211556" cy="2115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7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C333AEF-2B22-2F45-A55D-C1FC3C31F1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>
                <a:solidFill>
                  <a:srgbClr val="404040"/>
                </a:solidFill>
                <a:latin typeface="Calibri Light"/>
                <a:cs typeface="Calibri Light"/>
              </a:rPr>
              <a:t>Antes de </a:t>
            </a:r>
            <a:r>
              <a:rPr lang="en-US" sz="4800" err="1">
                <a:solidFill>
                  <a:srgbClr val="404040"/>
                </a:solidFill>
                <a:latin typeface="Calibri Light"/>
                <a:cs typeface="Calibri Light"/>
              </a:rPr>
              <a:t>ver</a:t>
            </a:r>
            <a:r>
              <a:rPr lang="en-US" sz="4800">
                <a:solidFill>
                  <a:srgbClr val="404040"/>
                </a:solidFill>
                <a:latin typeface="Calibri Light"/>
                <a:cs typeface="Calibri Light"/>
              </a:rPr>
              <a:t> </a:t>
            </a:r>
            <a:r>
              <a:rPr lang="en-US" sz="4800" err="1">
                <a:solidFill>
                  <a:srgbClr val="404040"/>
                </a:solidFill>
                <a:latin typeface="Calibri Light"/>
                <a:cs typeface="Calibri Light"/>
              </a:rPr>
              <a:t>el</a:t>
            </a:r>
            <a:r>
              <a:rPr lang="en-US" sz="4800">
                <a:solidFill>
                  <a:srgbClr val="404040"/>
                </a:solidFill>
                <a:latin typeface="Calibri Light"/>
                <a:cs typeface="Calibri Light"/>
              </a:rPr>
              <a:t> </a:t>
            </a:r>
            <a:r>
              <a:rPr lang="en-US" sz="4800" err="1">
                <a:solidFill>
                  <a:srgbClr val="404040"/>
                </a:solidFill>
                <a:latin typeface="Calibri Light"/>
                <a:cs typeface="Calibri Light"/>
              </a:rPr>
              <a:t>ejemplo</a:t>
            </a:r>
            <a:r>
              <a:rPr lang="en-US" sz="4800">
                <a:solidFill>
                  <a:srgbClr val="404040"/>
                </a:solidFill>
                <a:latin typeface="Calibri Light"/>
                <a:cs typeface="Calibri Light"/>
              </a:rPr>
              <a:t> de truffle...</a:t>
            </a:r>
            <a:br>
              <a:rPr lang="en-US" sz="4800">
                <a:solidFill>
                  <a:srgbClr val="404040"/>
                </a:solidFill>
                <a:latin typeface="Calibri Light"/>
                <a:cs typeface="Calibri Light"/>
              </a:rPr>
            </a:br>
            <a:endParaRPr lang="en-US" sz="4800">
              <a:solidFill>
                <a:srgbClr val="404040"/>
              </a:solidFill>
              <a:latin typeface="Calibri Light"/>
              <a:cs typeface="Calibri Light"/>
            </a:endParaRP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13"/>
          </p:nvPr>
        </p:nvSpPr>
        <p:spPr/>
        <p:txBody>
          <a:bodyPr lIns="0" tIns="45720" rIns="91440" bIns="45720" anchor="t" anchorCtr="0">
            <a:noAutofit/>
          </a:bodyPr>
          <a:lstStyle/>
          <a:p>
            <a:r>
              <a:rPr lang="es-ES">
                <a:latin typeface="Arial"/>
                <a:cs typeface="Arial"/>
              </a:rPr>
              <a:t>           </a:t>
            </a:r>
            <a:endParaRPr lang="es-E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CFD331-696F-BECE-013C-39A59AC84558}"/>
              </a:ext>
            </a:extLst>
          </p:cNvPr>
          <p:cNvSpPr txBox="1"/>
          <p:nvPr/>
        </p:nvSpPr>
        <p:spPr>
          <a:xfrm>
            <a:off x="345333" y="1566308"/>
            <a:ext cx="7896086" cy="22467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Consiste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en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un 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dapp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 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básico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para 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operar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con 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Metacoin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(MTC) un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tipo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de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criptomoneda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 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en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 blockchain.</a:t>
            </a:r>
          </a:p>
          <a:p>
            <a:pPr marL="342900" indent="-342900">
              <a:buFont typeface="Arial"/>
              <a:buChar char="•"/>
            </a:pP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Permite 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enviar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metacoin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desde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una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cuenta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a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otra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.</a:t>
            </a:r>
          </a:p>
          <a:p>
            <a:pPr marL="342900" indent="-342900">
              <a:buFont typeface="Arial"/>
              <a:buChar char="•"/>
            </a:pP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Consultar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 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el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saldo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de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una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cuenta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 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en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 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Metacoin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.</a:t>
            </a:r>
          </a:p>
          <a:p>
            <a:pPr marL="342900" indent="-342900">
              <a:buFont typeface="Arial"/>
              <a:buChar char="•"/>
            </a:pP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Consultar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el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saldo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 de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una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cuenta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en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Ether (ETH), que es la </a:t>
            </a:r>
            <a:r>
              <a:rPr lang="en-US" sz="2000" err="1">
                <a:solidFill>
                  <a:srgbClr val="404040"/>
                </a:solidFill>
                <a:latin typeface="Calibri Light"/>
                <a:cs typeface="Calibri Light"/>
              </a:rPr>
              <a:t>moneda</a:t>
            </a:r>
            <a:r>
              <a:rPr lang="en-US" sz="2000">
                <a:solidFill>
                  <a:srgbClr val="404040"/>
                </a:solidFill>
                <a:latin typeface="Calibri Light"/>
                <a:cs typeface="Calibri Light"/>
              </a:rPr>
              <a:t> de Ethereum.</a:t>
            </a:r>
          </a:p>
          <a:p>
            <a:pPr marL="342900" indent="-342900">
              <a:buFont typeface="Arial"/>
              <a:buChar char="•"/>
            </a:pPr>
            <a:endParaRPr lang="en-US" sz="2000">
              <a:solidFill>
                <a:srgbClr val="404040"/>
              </a:solidFill>
              <a:latin typeface="Calibri Light"/>
              <a:cs typeface="Calibri Light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26AB10D-58A3-E43A-A1C6-7AF7476739B1}"/>
              </a:ext>
            </a:extLst>
          </p:cNvPr>
          <p:cNvSpPr/>
          <p:nvPr/>
        </p:nvSpPr>
        <p:spPr>
          <a:xfrm>
            <a:off x="1237763" y="3604799"/>
            <a:ext cx="1575486" cy="112240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50" err="1">
                <a:solidFill>
                  <a:schemeClr val="tx1"/>
                </a:solidFill>
              </a:rPr>
              <a:t>Cuenta</a:t>
            </a:r>
            <a:r>
              <a:rPr lang="en-US" sz="1750">
                <a:solidFill>
                  <a:schemeClr val="tx1"/>
                </a:solidFill>
              </a:rPr>
              <a:t> 1</a:t>
            </a:r>
          </a:p>
          <a:p>
            <a:pPr algn="ctr"/>
            <a:r>
              <a:rPr lang="en-US" sz="1750">
                <a:solidFill>
                  <a:schemeClr val="tx1"/>
                </a:solidFill>
              </a:rPr>
              <a:t>(Saldo: 1000 MTC)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0C6465ED-B1CE-C1F7-2687-C51B2877EB07}"/>
              </a:ext>
            </a:extLst>
          </p:cNvPr>
          <p:cNvSpPr/>
          <p:nvPr/>
        </p:nvSpPr>
        <p:spPr>
          <a:xfrm>
            <a:off x="3314908" y="3708891"/>
            <a:ext cx="1925595" cy="494271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50" err="1">
                <a:solidFill>
                  <a:schemeClr val="tx1"/>
                </a:solidFill>
              </a:rPr>
              <a:t>Enviar</a:t>
            </a:r>
            <a:r>
              <a:rPr lang="en-US" sz="1750">
                <a:solidFill>
                  <a:schemeClr val="tx1"/>
                </a:solidFill>
              </a:rPr>
              <a:t> 90 MTC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70BC4DC-A6A0-F5DC-672A-1CFC81DE6F45}"/>
              </a:ext>
            </a:extLst>
          </p:cNvPr>
          <p:cNvSpPr/>
          <p:nvPr/>
        </p:nvSpPr>
        <p:spPr>
          <a:xfrm>
            <a:off x="5778871" y="3604799"/>
            <a:ext cx="1575486" cy="112240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750" err="1">
                <a:solidFill>
                  <a:schemeClr val="tx1"/>
                </a:solidFill>
              </a:rPr>
              <a:t>Cuenta</a:t>
            </a:r>
            <a:r>
              <a:rPr lang="en-US" sz="1750">
                <a:solidFill>
                  <a:schemeClr val="tx1"/>
                </a:solidFill>
              </a:rPr>
              <a:t> 2</a:t>
            </a:r>
          </a:p>
          <a:p>
            <a:pPr algn="ctr"/>
            <a:r>
              <a:rPr lang="en-US" sz="1750">
                <a:solidFill>
                  <a:schemeClr val="tx1"/>
                </a:solidFill>
              </a:rPr>
              <a:t>(Saldo: 90 MTC)</a:t>
            </a:r>
          </a:p>
        </p:txBody>
      </p:sp>
      <p:sp>
        <p:nvSpPr>
          <p:cNvPr id="19" name="Arrow: Up 18">
            <a:extLst>
              <a:ext uri="{FF2B5EF4-FFF2-40B4-BE49-F238E27FC236}">
                <a16:creationId xmlns:a16="http://schemas.microsoft.com/office/drawing/2014/main" id="{2DD356EC-A792-D8E7-A505-AAAF74B746BC}"/>
              </a:ext>
            </a:extLst>
          </p:cNvPr>
          <p:cNvSpPr/>
          <p:nvPr/>
        </p:nvSpPr>
        <p:spPr>
          <a:xfrm>
            <a:off x="5075895" y="4867114"/>
            <a:ext cx="2975918" cy="1318054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50" err="1">
                <a:solidFill>
                  <a:schemeClr val="tx1"/>
                </a:solidFill>
              </a:rPr>
              <a:t>Consultar</a:t>
            </a:r>
            <a:r>
              <a:rPr lang="en-US" sz="1750">
                <a:solidFill>
                  <a:schemeClr val="tx1"/>
                </a:solidFill>
              </a:rPr>
              <a:t> </a:t>
            </a:r>
            <a:r>
              <a:rPr lang="en-US" sz="1750" err="1">
                <a:solidFill>
                  <a:schemeClr val="tx1"/>
                </a:solidFill>
              </a:rPr>
              <a:t>en</a:t>
            </a:r>
            <a:r>
              <a:rPr lang="en-US" sz="1750">
                <a:solidFill>
                  <a:schemeClr val="tx1"/>
                </a:solidFill>
              </a:rPr>
              <a:t> ETH</a:t>
            </a:r>
            <a:br>
              <a:rPr lang="en-US" sz="1750">
                <a:solidFill>
                  <a:schemeClr val="tx1"/>
                </a:solidFill>
              </a:rPr>
            </a:br>
            <a:r>
              <a:rPr lang="en-US" sz="1750">
                <a:solidFill>
                  <a:schemeClr val="tx1"/>
                </a:solidFill>
              </a:rPr>
              <a:t>(Saldo: 180ETH)</a:t>
            </a:r>
          </a:p>
        </p:txBody>
      </p:sp>
    </p:spTree>
    <p:extLst>
      <p:ext uri="{BB962C8B-B14F-4D97-AF65-F5344CB8AC3E}">
        <p14:creationId xmlns:p14="http://schemas.microsoft.com/office/powerpoint/2010/main" val="34869472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3033791"/>
              </p:ext>
            </p:extLst>
          </p:nvPr>
        </p:nvGraphicFramePr>
        <p:xfrm>
          <a:off x="-1518703" y="390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518703" y="390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¡Gracias!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E417AD1-D863-EB4A-AF35-6B98DE57CAAA}"/>
              </a:ext>
            </a:extLst>
          </p:cNvPr>
          <p:cNvSpPr txBox="1">
            <a:spLocks/>
          </p:cNvSpPr>
          <p:nvPr/>
        </p:nvSpPr>
        <p:spPr>
          <a:xfrm>
            <a:off x="303636" y="5378589"/>
            <a:ext cx="5665375" cy="1146764"/>
          </a:xfrm>
          <a:prstGeom prst="rect">
            <a:avLst/>
          </a:prstGeom>
        </p:spPr>
        <p:txBody>
          <a:bodyPr lIns="0" tIns="45720" rIns="91440" bIns="45720" numCol="3" anchor="t"/>
          <a:lstStyle>
            <a:lvl1pPr marL="0" indent="0" algn="l" defTabSz="913897" rtl="0" eaLnBrk="1" latinLnBrk="0" hangingPunct="1">
              <a:lnSpc>
                <a:spcPct val="90000"/>
              </a:lnSpc>
              <a:spcBef>
                <a:spcPts val="999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Soho Gothic Pro Light" panose="020B0303030504020204" pitchFamily="34" charset="77"/>
                <a:ea typeface="+mn-ea"/>
                <a:cs typeface="+mn-cs"/>
              </a:defRPr>
            </a:lvl1pPr>
            <a:lvl2pPr marL="685423" indent="-228474" algn="l" defTabSz="91389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371" indent="-228474" algn="l" defTabSz="91389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320" indent="-228474" algn="l" defTabSz="91389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268" indent="-228474" algn="l" defTabSz="91389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217" indent="-228474" algn="l" defTabSz="91389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166" indent="-228474" algn="l" defTabSz="91389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114" indent="-228474" algn="l" defTabSz="91389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063" indent="-228474" algn="l" defTabSz="91389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s-ES">
                <a:latin typeface="Arial"/>
                <a:cs typeface="Arial"/>
              </a:rPr>
              <a:t>Presentación: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s-ES">
                <a:latin typeface="Arial"/>
                <a:cs typeface="Arial"/>
              </a:rPr>
              <a:t>Julio Robles </a:t>
            </a:r>
            <a:r>
              <a:rPr lang="es-ES" err="1">
                <a:latin typeface="Arial"/>
                <a:cs typeface="Arial"/>
              </a:rPr>
              <a:t>Robles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s-ES">
                <a:latin typeface="Arial"/>
                <a:cs typeface="Arial"/>
              </a:rPr>
              <a:t>jrobles@minsait.com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s-ES">
              <a:latin typeface="Arial" panose="020B0604020202020204" pitchFamily="34" charset="0"/>
              <a:cs typeface="Arial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s-ES">
              <a:latin typeface="Arial" panose="020B0604020202020204" pitchFamily="34" charset="0"/>
              <a:cs typeface="Arial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s-ES">
                <a:latin typeface="Arial"/>
                <a:cs typeface="Arial"/>
              </a:rPr>
              <a:t>Xiao Jing Wang</a:t>
            </a:r>
            <a:endParaRPr lang="es-ES">
              <a:latin typeface="Arial" panose="020B0604020202020204" pitchFamily="34" charset="0"/>
              <a:cs typeface="Arial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s-ES">
                <a:latin typeface="Arial"/>
                <a:cs typeface="Arial"/>
              </a:rPr>
              <a:t>xjwang@minsait.com</a:t>
            </a:r>
            <a:endParaRPr lang="es-ES">
              <a:latin typeface="Arial" panose="020B0604020202020204" pitchFamily="34" charset="0"/>
              <a:cs typeface="Arial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s-ES"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s-ES"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s-E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66315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408BF8B-7896-9648-B447-E9B094688D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3030" y="2585159"/>
            <a:ext cx="5094279" cy="3063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12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50">
                <a:latin typeface="Georgia"/>
              </a:rPr>
              <a:t>Ethereum</a:t>
            </a:r>
            <a:endParaRPr lang="es-ES" sz="2750"/>
          </a:p>
        </p:txBody>
      </p:sp>
      <p:sp>
        <p:nvSpPr>
          <p:cNvPr id="17" name="CuadroTexto 16"/>
          <p:cNvSpPr txBox="1"/>
          <p:nvPr/>
        </p:nvSpPr>
        <p:spPr>
          <a:xfrm>
            <a:off x="-1176953" y="6120245"/>
            <a:ext cx="1900800" cy="2610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ES" sz="800" baseline="30000">
                <a:latin typeface="Arial" panose="020B0604020202020204" pitchFamily="34" charset="0"/>
              </a:rPr>
              <a:t>(1) </a:t>
            </a:r>
            <a:r>
              <a:rPr lang="es-ES" sz="800" err="1">
                <a:latin typeface="Arial" panose="020B0604020202020204" pitchFamily="34" charset="0"/>
              </a:rPr>
              <a:t>Xxxxx</a:t>
            </a:r>
            <a:endParaRPr lang="es-ES" sz="800">
              <a:latin typeface="Arial" panose="020B0604020202020204" pitchFamily="34" charset="0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30CBA30-A8CC-3E8D-F454-FDFF499D30A7}"/>
              </a:ext>
            </a:extLst>
          </p:cNvPr>
          <p:cNvSpPr>
            <a:spLocks noGrp="1"/>
          </p:cNvSpPr>
          <p:nvPr/>
        </p:nvSpPr>
        <p:spPr>
          <a:xfrm>
            <a:off x="260975" y="1426181"/>
            <a:ext cx="4059814" cy="434310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>
                <a:latin typeface="Calibri Light"/>
                <a:ea typeface="Calibri Light"/>
                <a:cs typeface="Calibri Light"/>
              </a:rPr>
              <a:t>Blockchain </a:t>
            </a:r>
            <a:r>
              <a:rPr lang="en-US" sz="2400" b="1" err="1">
                <a:latin typeface="Calibri Light"/>
                <a:ea typeface="Calibri Light"/>
                <a:cs typeface="Calibri Light"/>
              </a:rPr>
              <a:t>Descentralizada</a:t>
            </a:r>
            <a:endParaRPr lang="en-US" sz="2400" b="1">
              <a:latin typeface="Calibri Light"/>
              <a:ea typeface="Calibri Light"/>
              <a:cs typeface="Calibri Light"/>
            </a:endParaRPr>
          </a:p>
          <a:p>
            <a:pPr lvl="1"/>
            <a:r>
              <a:rPr lang="en-US">
                <a:latin typeface="Calibri Light"/>
                <a:ea typeface="Calibri Light"/>
                <a:cs typeface="Calibri Light"/>
              </a:rPr>
              <a:t>Al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igual</a:t>
            </a:r>
            <a:r>
              <a:rPr lang="en-US">
                <a:latin typeface="Calibri Light"/>
                <a:ea typeface="Calibri Light"/>
                <a:cs typeface="Calibri Light"/>
              </a:rPr>
              <a:t> que Bitcoin, Ethereum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utiliza</a:t>
            </a:r>
            <a:r>
              <a:rPr lang="en-US">
                <a:latin typeface="Calibri Light"/>
                <a:ea typeface="Calibri Light"/>
                <a:cs typeface="Calibri Light"/>
              </a:rPr>
              <a:t>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una</a:t>
            </a:r>
            <a:r>
              <a:rPr lang="en-US">
                <a:latin typeface="Calibri Light"/>
                <a:ea typeface="Calibri Light"/>
                <a:cs typeface="Calibri Light"/>
              </a:rPr>
              <a:t>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cadena</a:t>
            </a:r>
            <a:r>
              <a:rPr lang="en-US">
                <a:latin typeface="Calibri Light"/>
                <a:ea typeface="Calibri Light"/>
                <a:cs typeface="Calibri Light"/>
              </a:rPr>
              <a:t> de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bloques</a:t>
            </a:r>
            <a:r>
              <a:rPr lang="en-US">
                <a:latin typeface="Calibri Light"/>
                <a:ea typeface="Calibri Light"/>
                <a:cs typeface="Calibri Light"/>
              </a:rPr>
              <a:t>,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pero</a:t>
            </a:r>
            <a:r>
              <a:rPr lang="en-US">
                <a:latin typeface="Calibri Light"/>
                <a:ea typeface="Calibri Light"/>
                <a:cs typeface="Calibri Light"/>
              </a:rPr>
              <a:t>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su</a:t>
            </a:r>
            <a:r>
              <a:rPr lang="en-US">
                <a:latin typeface="Calibri Light"/>
                <a:ea typeface="Calibri Light"/>
                <a:cs typeface="Calibri Light"/>
              </a:rPr>
              <a:t>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objetivo</a:t>
            </a:r>
            <a:r>
              <a:rPr lang="en-US">
                <a:latin typeface="Calibri Light"/>
                <a:ea typeface="Calibri Light"/>
                <a:cs typeface="Calibri Light"/>
              </a:rPr>
              <a:t> principal no es solo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servir</a:t>
            </a:r>
            <a:r>
              <a:rPr lang="en-US">
                <a:latin typeface="Calibri Light"/>
                <a:ea typeface="Calibri Light"/>
                <a:cs typeface="Calibri Light"/>
              </a:rPr>
              <a:t>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como</a:t>
            </a:r>
            <a:r>
              <a:rPr lang="en-US">
                <a:latin typeface="Calibri Light"/>
                <a:ea typeface="Calibri Light"/>
                <a:cs typeface="Calibri Light"/>
              </a:rPr>
              <a:t>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una</a:t>
            </a:r>
            <a:r>
              <a:rPr lang="en-US">
                <a:latin typeface="Calibri Light"/>
                <a:ea typeface="Calibri Light"/>
                <a:cs typeface="Calibri Light"/>
              </a:rPr>
              <a:t>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criptomoneda</a:t>
            </a:r>
            <a:r>
              <a:rPr lang="en-US">
                <a:latin typeface="Calibri Light"/>
                <a:ea typeface="Calibri Light"/>
                <a:cs typeface="Calibri Light"/>
              </a:rPr>
              <a:t>.</a:t>
            </a:r>
          </a:p>
          <a:p>
            <a:pPr lvl="1"/>
            <a:r>
              <a:rPr lang="en-US">
                <a:latin typeface="Calibri Light"/>
                <a:ea typeface="Calibri Light"/>
                <a:cs typeface="Calibri Light"/>
              </a:rPr>
              <a:t>Su blockchain es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una</a:t>
            </a:r>
            <a:r>
              <a:rPr lang="en-US">
                <a:latin typeface="Calibri Light"/>
                <a:ea typeface="Calibri Light"/>
                <a:cs typeface="Calibri Light"/>
              </a:rPr>
              <a:t> base de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datos</a:t>
            </a:r>
            <a:r>
              <a:rPr lang="en-US">
                <a:latin typeface="Calibri Light"/>
                <a:ea typeface="Calibri Light"/>
                <a:cs typeface="Calibri Light"/>
              </a:rPr>
              <a:t>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pública</a:t>
            </a:r>
            <a:r>
              <a:rPr lang="en-US">
                <a:latin typeface="Calibri Light"/>
                <a:ea typeface="Calibri Light"/>
                <a:cs typeface="Calibri Light"/>
              </a:rPr>
              <a:t> y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segura</a:t>
            </a:r>
            <a:r>
              <a:rPr lang="en-US">
                <a:latin typeface="Calibri Light"/>
                <a:ea typeface="Calibri Light"/>
                <a:cs typeface="Calibri Light"/>
              </a:rPr>
              <a:t>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donde</a:t>
            </a:r>
            <a:r>
              <a:rPr lang="en-US">
                <a:latin typeface="Calibri Light"/>
                <a:ea typeface="Calibri Light"/>
                <a:cs typeface="Calibri Light"/>
              </a:rPr>
              <a:t> se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registran</a:t>
            </a:r>
            <a:r>
              <a:rPr lang="en-US">
                <a:latin typeface="Calibri Light"/>
                <a:ea typeface="Calibri Light"/>
                <a:cs typeface="Calibri Light"/>
              </a:rPr>
              <a:t>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todas</a:t>
            </a:r>
            <a:r>
              <a:rPr lang="en-US">
                <a:latin typeface="Calibri Light"/>
                <a:ea typeface="Calibri Light"/>
                <a:cs typeface="Calibri Light"/>
              </a:rPr>
              <a:t> las </a:t>
            </a:r>
            <a:r>
              <a:rPr lang="en-US" err="1">
                <a:latin typeface="Calibri Light"/>
                <a:ea typeface="Calibri Light"/>
                <a:cs typeface="Calibri Light"/>
              </a:rPr>
              <a:t>transacciones</a:t>
            </a:r>
            <a:r>
              <a:rPr lang="en-US">
                <a:latin typeface="Calibri Light"/>
                <a:ea typeface="Calibri Light"/>
                <a:cs typeface="Calibri Light"/>
              </a:rPr>
              <a:t>.</a:t>
            </a:r>
          </a:p>
          <a:p>
            <a:pPr marL="457200" lvl="1"/>
            <a:endParaRPr lang="en-US" b="1"/>
          </a:p>
          <a:p>
            <a:endParaRPr lang="en-US" sz="2400" b="1"/>
          </a:p>
          <a:p>
            <a:endParaRPr lang="en-US" sz="2400" b="1"/>
          </a:p>
          <a:p>
            <a:pPr lvl="1"/>
            <a:endParaRPr lang="en-US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2A4C02BE-D3EB-7E2C-F400-ECDB2AF852F8}"/>
              </a:ext>
            </a:extLst>
          </p:cNvPr>
          <p:cNvSpPr txBox="1"/>
          <p:nvPr/>
        </p:nvSpPr>
        <p:spPr>
          <a:xfrm>
            <a:off x="4797757" y="1426790"/>
            <a:ext cx="3343121" cy="4071255"/>
          </a:xfrm>
          <a:prstGeom prst="rect">
            <a:avLst/>
          </a:prstGeom>
        </p:spPr>
        <p:txBody>
          <a:bodyPr rot="0" spcFirstLastPara="0" vert="horz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b="1" err="1">
                <a:latin typeface="Calibri Light"/>
                <a:ea typeface="Calibri Light"/>
                <a:cs typeface="Calibri Light"/>
              </a:rPr>
              <a:t>Beneficios</a:t>
            </a:r>
            <a:endParaRPr lang="en-US" sz="2400">
              <a:latin typeface="Calibri Light"/>
              <a:ea typeface="Calibri Light"/>
              <a:cs typeface="Calibri Light"/>
            </a:endParaRPr>
          </a:p>
          <a:p>
            <a:pPr marL="74295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200">
                <a:latin typeface="Calibri Light"/>
                <a:ea typeface="Calibri Light"/>
                <a:cs typeface="Calibri Light"/>
              </a:rPr>
              <a:t>Seguridad</a:t>
            </a:r>
          </a:p>
          <a:p>
            <a:pPr marL="74295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200" err="1">
                <a:latin typeface="Calibri Light"/>
                <a:ea typeface="Calibri Light"/>
                <a:cs typeface="Calibri Light"/>
              </a:rPr>
              <a:t>Transparencia</a:t>
            </a:r>
            <a:endParaRPr lang="en-US" sz="2200">
              <a:latin typeface="Calibri Light"/>
              <a:ea typeface="Calibri Light"/>
              <a:cs typeface="Calibri Light"/>
            </a:endParaRPr>
          </a:p>
          <a:p>
            <a:pPr marL="74295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200" err="1">
                <a:latin typeface="Calibri Light"/>
                <a:ea typeface="Calibri Light"/>
                <a:cs typeface="Calibri Light"/>
              </a:rPr>
              <a:t>Inmutabilidad</a:t>
            </a:r>
            <a:endParaRPr lang="en-US" sz="2200">
              <a:latin typeface="Calibri Light"/>
              <a:ea typeface="Calibri Light"/>
              <a:cs typeface="Calibri Light"/>
            </a:endParaRPr>
          </a:p>
          <a:p>
            <a:pPr marL="74295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200" err="1">
                <a:latin typeface="Calibri Light"/>
                <a:ea typeface="Calibri Light"/>
                <a:cs typeface="Calibri Light"/>
              </a:rPr>
              <a:t>Interoperabilidad</a:t>
            </a:r>
            <a:endParaRPr lang="en-US" sz="2200">
              <a:latin typeface="Calibri Light"/>
              <a:ea typeface="Calibri Light"/>
              <a:cs typeface="Calibri Light"/>
            </a:endParaRPr>
          </a:p>
          <a:p>
            <a:pPr marL="28575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b="1" err="1">
                <a:latin typeface="Calibri Light"/>
                <a:ea typeface="Calibri Light"/>
                <a:cs typeface="Calibri Light"/>
              </a:rPr>
              <a:t>Usos</a:t>
            </a:r>
            <a:r>
              <a:rPr lang="en-US" sz="2400" b="1">
                <a:latin typeface="Calibri Light"/>
                <a:ea typeface="Calibri Light"/>
                <a:cs typeface="Calibri Light"/>
              </a:rPr>
              <a:t> </a:t>
            </a:r>
            <a:r>
              <a:rPr lang="en-US" sz="2400" b="1" err="1">
                <a:latin typeface="Calibri Light"/>
                <a:ea typeface="Calibri Light"/>
                <a:cs typeface="Calibri Light"/>
              </a:rPr>
              <a:t>reales</a:t>
            </a:r>
            <a:endParaRPr lang="en-US" sz="2400">
              <a:latin typeface="Calibri Light"/>
              <a:ea typeface="Calibri Light"/>
              <a:cs typeface="Calibri Light"/>
            </a:endParaRPr>
          </a:p>
          <a:p>
            <a:pPr marL="74295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200" err="1">
                <a:latin typeface="Calibri Light"/>
                <a:ea typeface="Calibri Light"/>
                <a:cs typeface="Calibri Light"/>
              </a:rPr>
              <a:t>Finanzas</a:t>
            </a:r>
            <a:r>
              <a:rPr lang="en-US" sz="2200">
                <a:latin typeface="Calibri Light"/>
                <a:ea typeface="Calibri Light"/>
                <a:cs typeface="Calibri Light"/>
              </a:rPr>
              <a:t> </a:t>
            </a:r>
            <a:r>
              <a:rPr lang="en-US" sz="2200" err="1">
                <a:latin typeface="Calibri Light"/>
                <a:ea typeface="Calibri Light"/>
                <a:cs typeface="Calibri Light"/>
              </a:rPr>
              <a:t>Descentralizadas</a:t>
            </a:r>
            <a:r>
              <a:rPr lang="en-US" sz="2200">
                <a:latin typeface="Calibri Light"/>
                <a:ea typeface="Calibri Light"/>
                <a:cs typeface="Calibri Light"/>
              </a:rPr>
              <a:t> (DeFi)</a:t>
            </a:r>
          </a:p>
          <a:p>
            <a:pPr marL="74295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200">
                <a:latin typeface="Calibri Light"/>
                <a:ea typeface="Calibri Light"/>
                <a:cs typeface="Calibri Light"/>
              </a:rPr>
              <a:t>NFTs</a:t>
            </a:r>
          </a:p>
          <a:p>
            <a:pPr marL="74295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200" err="1">
                <a:latin typeface="Calibri Light"/>
                <a:ea typeface="Calibri Light"/>
                <a:cs typeface="Calibri Light"/>
              </a:rPr>
              <a:t>Juegos</a:t>
            </a:r>
            <a:endParaRPr lang="en-US" sz="2200">
              <a:latin typeface="Calibri Light"/>
              <a:ea typeface="Calibri Light"/>
              <a:cs typeface="Calibri Light"/>
            </a:endParaRPr>
          </a:p>
        </p:txBody>
      </p:sp>
      <p:pic>
        <p:nvPicPr>
          <p:cNvPr id="5" name="Imagen 4" descr="Imagen que contiene oscuro, luz, tabla, paraguas&#10;&#10;Descripción generada automáticamente">
            <a:extLst>
              <a:ext uri="{FF2B5EF4-FFF2-40B4-BE49-F238E27FC236}">
                <a16:creationId xmlns:a16="http://schemas.microsoft.com/office/drawing/2014/main" id="{D1503F88-61E5-50C6-19FB-3F2A131BC8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102" y="4572000"/>
            <a:ext cx="161925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069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D09B18A-A084-57F1-4FFF-B74ECEB92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833" y="355667"/>
            <a:ext cx="8639588" cy="919343"/>
          </a:xfrm>
        </p:spPr>
        <p:txBody>
          <a:bodyPr/>
          <a:lstStyle/>
          <a:p>
            <a:r>
              <a:rPr lang="es-ES" sz="3600" err="1">
                <a:latin typeface="Georgia"/>
              </a:rPr>
              <a:t>Metamask</a:t>
            </a:r>
            <a:endParaRPr lang="es-ES" sz="3600"/>
          </a:p>
        </p:txBody>
      </p:sp>
      <p:graphicFrame>
        <p:nvGraphicFramePr>
          <p:cNvPr id="4" name="Marcador de contenido 2">
            <a:extLst>
              <a:ext uri="{FF2B5EF4-FFF2-40B4-BE49-F238E27FC236}">
                <a16:creationId xmlns:a16="http://schemas.microsoft.com/office/drawing/2014/main" id="{08992FB1-91DC-C691-0C57-C472F3A5B5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2963105"/>
              </p:ext>
            </p:extLst>
          </p:nvPr>
        </p:nvGraphicFramePr>
        <p:xfrm>
          <a:off x="644106" y="1275692"/>
          <a:ext cx="7862978" cy="47934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428654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28903CC-C236-0DA7-9682-44E100394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895" y="332002"/>
            <a:ext cx="5075700" cy="914611"/>
          </a:xfrm>
        </p:spPr>
        <p:txBody>
          <a:bodyPr/>
          <a:lstStyle/>
          <a:p>
            <a:r>
              <a:rPr lang="es-ES" sz="3400">
                <a:solidFill>
                  <a:srgbClr val="000000"/>
                </a:solidFill>
                <a:latin typeface="Georgia"/>
              </a:rPr>
              <a:t>Funcionalidades </a:t>
            </a:r>
            <a:r>
              <a:rPr lang="es-ES" sz="3400" err="1">
                <a:solidFill>
                  <a:srgbClr val="000000"/>
                </a:solidFill>
                <a:latin typeface="Georgia"/>
              </a:rPr>
              <a:t>MetaMask</a:t>
            </a:r>
            <a:endParaRPr lang="en-US" sz="3400">
              <a:latin typeface="Georgia"/>
            </a:endParaRPr>
          </a:p>
          <a:p>
            <a:endParaRPr lang="es-ES"/>
          </a:p>
        </p:txBody>
      </p:sp>
      <p:pic>
        <p:nvPicPr>
          <p:cNvPr id="4" name="Imagen 3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FA5FD124-0DD5-1D18-2068-297B801EB7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2366" y="0"/>
            <a:ext cx="3809742" cy="6858001"/>
          </a:xfrm>
          <a:prstGeom prst="rect">
            <a:avLst/>
          </a:prstGeom>
        </p:spPr>
      </p:pic>
      <p:graphicFrame>
        <p:nvGraphicFramePr>
          <p:cNvPr id="5" name="Marcador de contenido 2">
            <a:extLst>
              <a:ext uri="{FF2B5EF4-FFF2-40B4-BE49-F238E27FC236}">
                <a16:creationId xmlns:a16="http://schemas.microsoft.com/office/drawing/2014/main" id="{854628CB-DAF2-2B58-655B-7357815A72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5527811"/>
              </p:ext>
            </p:extLst>
          </p:nvPr>
        </p:nvGraphicFramePr>
        <p:xfrm>
          <a:off x="-2060" y="1558645"/>
          <a:ext cx="5447146" cy="44206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822147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0C1FA0B-F9E6-737E-4925-2D220ECB5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86" y="427119"/>
            <a:ext cx="8263350" cy="863601"/>
          </a:xfrm>
        </p:spPr>
        <p:txBody>
          <a:bodyPr lIns="0" tIns="0" rIns="0" bIns="0" anchor="t"/>
          <a:lstStyle/>
          <a:p>
            <a:r>
              <a:rPr lang="es-ES" sz="4000">
                <a:latin typeface="Georgia"/>
              </a:rPr>
              <a:t>Web3.js</a:t>
            </a:r>
            <a:endParaRPr lang="es-ES" sz="4000"/>
          </a:p>
        </p:txBody>
      </p:sp>
      <p:graphicFrame>
        <p:nvGraphicFramePr>
          <p:cNvPr id="4" name="Marcador de contenido 2">
            <a:extLst>
              <a:ext uri="{FF2B5EF4-FFF2-40B4-BE49-F238E27FC236}">
                <a16:creationId xmlns:a16="http://schemas.microsoft.com/office/drawing/2014/main" id="{C8BB5C55-9228-FB7B-88CA-75B0D0973D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3367558"/>
              </p:ext>
            </p:extLst>
          </p:nvPr>
        </p:nvGraphicFramePr>
        <p:xfrm>
          <a:off x="-2237367" y="2254472"/>
          <a:ext cx="10311141" cy="36894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969296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18703" y="390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518703" y="390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2"/>
            </p:custDataLst>
          </p:nvPr>
        </p:nvSpPr>
        <p:spPr>
          <a:xfrm>
            <a:off x="-1520819" y="1793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7">
              <a:latin typeface="Georgia" panose="02040502050405020303" pitchFamily="18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3600">
                <a:latin typeface="Georgia"/>
              </a:rPr>
              <a:t>Funcionalidades Web3.js</a:t>
            </a:r>
            <a:endParaRPr lang="es-ES" sz="360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091D2C9B-0959-2A48-A463-D8C52AD3E8A2}"/>
              </a:ext>
            </a:extLst>
          </p:cNvPr>
          <p:cNvSpPr/>
          <p:nvPr/>
        </p:nvSpPr>
        <p:spPr>
          <a:xfrm>
            <a:off x="-4874222" y="742381"/>
            <a:ext cx="5691846" cy="6113835"/>
          </a:xfrm>
          <a:custGeom>
            <a:avLst/>
            <a:gdLst>
              <a:gd name="connsiteX0" fmla="*/ 0 w 3888002"/>
              <a:gd name="connsiteY0" fmla="*/ 0 h 4176256"/>
              <a:gd name="connsiteX1" fmla="*/ 3888002 w 3888002"/>
              <a:gd name="connsiteY1" fmla="*/ 1054698 h 4176256"/>
              <a:gd name="connsiteX2" fmla="*/ 3888002 w 3888002"/>
              <a:gd name="connsiteY2" fmla="*/ 4176256 h 4176256"/>
              <a:gd name="connsiteX3" fmla="*/ 0 w 3888002"/>
              <a:gd name="connsiteY3" fmla="*/ 4176256 h 4176256"/>
              <a:gd name="connsiteX4" fmla="*/ 0 w 3888002"/>
              <a:gd name="connsiteY4" fmla="*/ 0 h 4176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8002" h="4176256">
                <a:moveTo>
                  <a:pt x="0" y="0"/>
                </a:moveTo>
                <a:lnTo>
                  <a:pt x="3888002" y="1054698"/>
                </a:lnTo>
                <a:lnTo>
                  <a:pt x="3888002" y="4176256"/>
                </a:lnTo>
                <a:lnTo>
                  <a:pt x="0" y="417625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99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</a:p>
        </p:txBody>
      </p:sp>
      <p:graphicFrame>
        <p:nvGraphicFramePr>
          <p:cNvPr id="4" name="Marcador de contenido 2">
            <a:extLst>
              <a:ext uri="{FF2B5EF4-FFF2-40B4-BE49-F238E27FC236}">
                <a16:creationId xmlns:a16="http://schemas.microsoft.com/office/drawing/2014/main" id="{FEDB4C3D-DD78-CFD2-69C6-377201DEAB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0999997"/>
              </p:ext>
            </p:extLst>
          </p:nvPr>
        </p:nvGraphicFramePr>
        <p:xfrm>
          <a:off x="453555" y="2182763"/>
          <a:ext cx="8792225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658799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213D0A4-0390-2059-B258-62CE0D2011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800">
                <a:latin typeface="Georgia"/>
              </a:rPr>
              <a:t>Instalación y configuración  de Web3.js</a:t>
            </a:r>
            <a:endParaRPr lang="es-ES" sz="2800"/>
          </a:p>
        </p:txBody>
      </p:sp>
      <p:sp>
        <p:nvSpPr>
          <p:cNvPr id="4" name="Marcador de contenido 2">
            <a:extLst>
              <a:ext uri="{FF2B5EF4-FFF2-40B4-BE49-F238E27FC236}">
                <a16:creationId xmlns:a16="http://schemas.microsoft.com/office/drawing/2014/main" id="{31D008E7-7979-2A6A-F987-5667DF9B28BF}"/>
              </a:ext>
            </a:extLst>
          </p:cNvPr>
          <p:cNvSpPr>
            <a:spLocks noGrp="1"/>
          </p:cNvSpPr>
          <p:nvPr/>
        </p:nvSpPr>
        <p:spPr>
          <a:xfrm>
            <a:off x="2073075" y="1932848"/>
            <a:ext cx="4991242" cy="41323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2400" b="1">
                <a:latin typeface="Calibri Light"/>
                <a:ea typeface="+mn-lt"/>
                <a:cs typeface="+mn-lt"/>
              </a:rPr>
              <a:t>Instalación:</a:t>
            </a:r>
            <a:endParaRPr lang="es-ES" sz="2400">
              <a:latin typeface="Calibri Light"/>
              <a:ea typeface="Calibri Light"/>
              <a:cs typeface="Calibri Light"/>
            </a:endParaRPr>
          </a:p>
          <a:p>
            <a:r>
              <a:rPr lang="es-ES" sz="2400">
                <a:latin typeface="Calibri Light"/>
                <a:ea typeface="+mn-lt"/>
                <a:cs typeface="+mn-lt"/>
              </a:rPr>
              <a:t>Usando </a:t>
            </a:r>
            <a:r>
              <a:rPr lang="es-ES" sz="2400" err="1">
                <a:latin typeface="Calibri Light"/>
                <a:ea typeface="+mn-lt"/>
                <a:cs typeface="+mn-lt"/>
              </a:rPr>
              <a:t>npm</a:t>
            </a:r>
            <a:r>
              <a:rPr lang="es-ES" sz="2400">
                <a:latin typeface="Calibri Light"/>
                <a:ea typeface="+mn-lt"/>
                <a:cs typeface="+mn-lt"/>
              </a:rPr>
              <a:t>: </a:t>
            </a:r>
            <a:r>
              <a:rPr lang="es-ES" sz="2000" err="1">
                <a:latin typeface="Consolas"/>
                <a:ea typeface="Calibri Light"/>
                <a:cs typeface="Calibri Light"/>
              </a:rPr>
              <a:t>npm</a:t>
            </a:r>
            <a:r>
              <a:rPr lang="es-ES" sz="2000">
                <a:latin typeface="Consolas"/>
                <a:ea typeface="Calibri Light"/>
                <a:cs typeface="Calibri Light"/>
              </a:rPr>
              <a:t> </a:t>
            </a:r>
            <a:r>
              <a:rPr lang="es-ES" sz="2000" err="1">
                <a:latin typeface="Consolas"/>
                <a:ea typeface="Calibri Light"/>
                <a:cs typeface="Calibri Light"/>
              </a:rPr>
              <a:t>install</a:t>
            </a:r>
            <a:r>
              <a:rPr lang="es-ES" sz="2000">
                <a:latin typeface="Consolas"/>
                <a:ea typeface="Calibri Light"/>
                <a:cs typeface="Calibri Light"/>
              </a:rPr>
              <a:t> web3</a:t>
            </a:r>
          </a:p>
          <a:p>
            <a:pPr marL="0" indent="0">
              <a:buNone/>
            </a:pPr>
            <a:r>
              <a:rPr lang="es-ES" sz="2400" b="1">
                <a:latin typeface="Calibri Light"/>
                <a:ea typeface="+mn-lt"/>
                <a:cs typeface="+mn-lt"/>
              </a:rPr>
              <a:t>Configuración:</a:t>
            </a:r>
            <a:endParaRPr lang="es-ES" sz="2400">
              <a:latin typeface="Calibri Light"/>
              <a:ea typeface="Calibri Light"/>
              <a:cs typeface="Calibri Light"/>
            </a:endParaRPr>
          </a:p>
          <a:p>
            <a:r>
              <a:rPr lang="es-ES" sz="2400">
                <a:latin typeface="Calibri Light"/>
                <a:ea typeface="+mn-lt"/>
                <a:cs typeface="+mn-lt"/>
              </a:rPr>
              <a:t>Conexión a una red Ethereum:</a:t>
            </a:r>
            <a:endParaRPr lang="es-ES" sz="2400">
              <a:latin typeface="Calibri Light"/>
              <a:ea typeface="Calibri Light"/>
              <a:cs typeface="Calibri Light"/>
            </a:endParaRPr>
          </a:p>
          <a:p>
            <a:pPr marL="0" indent="0">
              <a:buNone/>
            </a:pPr>
            <a:r>
              <a:rPr lang="es-ES" sz="2000" err="1">
                <a:latin typeface="Consolas"/>
                <a:ea typeface="+mn-lt"/>
                <a:cs typeface="+mn-lt"/>
              </a:rPr>
              <a:t>const</a:t>
            </a:r>
            <a:r>
              <a:rPr lang="es-ES" sz="2000">
                <a:latin typeface="Consolas"/>
                <a:ea typeface="+mn-lt"/>
                <a:cs typeface="+mn-lt"/>
              </a:rPr>
              <a:t> Web3 = </a:t>
            </a:r>
            <a:r>
              <a:rPr lang="es-ES" sz="2000" err="1">
                <a:latin typeface="Consolas"/>
                <a:ea typeface="+mn-lt"/>
                <a:cs typeface="+mn-lt"/>
              </a:rPr>
              <a:t>require</a:t>
            </a:r>
            <a:r>
              <a:rPr lang="es-ES" sz="2000">
                <a:latin typeface="Consolas"/>
                <a:ea typeface="+mn-lt"/>
                <a:cs typeface="+mn-lt"/>
              </a:rPr>
              <a:t>('web3');</a:t>
            </a:r>
            <a:endParaRPr lang="es-ES" sz="2000">
              <a:latin typeface="Consolas"/>
              <a:ea typeface="Calibri Light"/>
              <a:cs typeface="Calibri Light"/>
            </a:endParaRPr>
          </a:p>
          <a:p>
            <a:pPr marL="0" indent="0">
              <a:buNone/>
            </a:pPr>
            <a:r>
              <a:rPr lang="es-ES" sz="2000" err="1">
                <a:latin typeface="Consolas"/>
                <a:ea typeface="+mn-lt"/>
                <a:cs typeface="+mn-lt"/>
              </a:rPr>
              <a:t>const</a:t>
            </a:r>
            <a:r>
              <a:rPr lang="es-ES" sz="2000">
                <a:latin typeface="Consolas"/>
                <a:ea typeface="+mn-lt"/>
                <a:cs typeface="+mn-lt"/>
              </a:rPr>
              <a:t> web3 = new Web3('URL_RED');</a:t>
            </a:r>
            <a:endParaRPr lang="es-ES" sz="2000">
              <a:latin typeface="Consolas"/>
              <a:ea typeface="Calibri Light"/>
              <a:cs typeface="Calibri Light"/>
            </a:endParaRPr>
          </a:p>
          <a:p>
            <a:pPr marL="0" indent="0">
              <a:buNone/>
            </a:pPr>
            <a:endParaRPr lang="es-ES" sz="2000">
              <a:latin typeface="Consolas"/>
              <a:ea typeface="Calibri Light"/>
              <a:cs typeface="Calibri Light"/>
            </a:endParaRPr>
          </a:p>
          <a:p>
            <a:pPr marL="0" indent="0">
              <a:buNone/>
            </a:pPr>
            <a:r>
              <a:rPr lang="es-ES" sz="2400" b="1">
                <a:latin typeface="Calibri Light"/>
                <a:ea typeface="Calibri Light"/>
                <a:cs typeface="Calibri Light"/>
              </a:rPr>
              <a:t>Documentación</a:t>
            </a:r>
            <a:r>
              <a:rPr lang="es-ES" sz="2400">
                <a:latin typeface="Calibri Light"/>
                <a:ea typeface="Calibri Light"/>
                <a:cs typeface="Calibri Light"/>
              </a:rPr>
              <a:t>:</a:t>
            </a:r>
          </a:p>
          <a:p>
            <a:pPr marL="457200" lvl="1" indent="0">
              <a:buNone/>
            </a:pPr>
            <a:r>
              <a:rPr lang="es-ES" i="1">
                <a:latin typeface="Calibri Light"/>
                <a:ea typeface="+mn-lt"/>
                <a:cs typeface="+mn-lt"/>
                <a:hlinkClick r:id="rId2"/>
              </a:rPr>
              <a:t>https://docs.web3js.org/</a:t>
            </a:r>
            <a:endParaRPr lang="es-ES">
              <a:latin typeface="Calibri Light"/>
              <a:hlinkClick r:id="rId2"/>
            </a:endParaRPr>
          </a:p>
          <a:p>
            <a:endParaRPr lang="es-ES" sz="2000"/>
          </a:p>
        </p:txBody>
      </p:sp>
    </p:spTree>
    <p:extLst>
      <p:ext uri="{BB962C8B-B14F-4D97-AF65-F5344CB8AC3E}">
        <p14:creationId xmlns:p14="http://schemas.microsoft.com/office/powerpoint/2010/main" val="506289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65EB44E-40D8-283C-86D7-99938CE28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3600">
                <a:latin typeface="Georgia"/>
              </a:rPr>
              <a:t>Ganache</a:t>
            </a:r>
            <a:endParaRPr lang="es-ES" sz="3600"/>
          </a:p>
        </p:txBody>
      </p:sp>
      <p:graphicFrame>
        <p:nvGraphicFramePr>
          <p:cNvPr id="4" name="Marcador de contenido 2">
            <a:extLst>
              <a:ext uri="{FF2B5EF4-FFF2-40B4-BE49-F238E27FC236}">
                <a16:creationId xmlns:a16="http://schemas.microsoft.com/office/drawing/2014/main" id="{4227251C-5EA5-98DD-DE17-1BDEDB440A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3318891"/>
              </p:ext>
            </p:extLst>
          </p:nvPr>
        </p:nvGraphicFramePr>
        <p:xfrm>
          <a:off x="245084" y="1713607"/>
          <a:ext cx="8663396" cy="40957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06097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zGXW59QNSPai6qF.7y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b6_VLpQTuvC0jcDyWaC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9hlEM7StWywm5YGpOiP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iF9IagQMKSZpCaYenO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iF9IagQMKSZpCaYenOy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3102018" id="{5C41357B-7313-429A-8D70-51EB5220553A}" vid="{D77268EC-2466-4A95-A82B-DEA9D01E7CF1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ED587DDEA6D544AB36945085B695760" ma:contentTypeVersion="14" ma:contentTypeDescription="Crear nuevo documento." ma:contentTypeScope="" ma:versionID="7540b27262b94993fbece3b311fde6a3">
  <xsd:schema xmlns:xsd="http://www.w3.org/2001/XMLSchema" xmlns:xs="http://www.w3.org/2001/XMLSchema" xmlns:p="http://schemas.microsoft.com/office/2006/metadata/properties" xmlns:ns3="309981f7-9c0a-451b-90ab-63f92cb69fd7" xmlns:ns4="5352bb14-628a-42a2-98be-2cfc82d48f96" targetNamespace="http://schemas.microsoft.com/office/2006/metadata/properties" ma:root="true" ma:fieldsID="866c1ef1f8a511435c4ee545392f5d7c" ns3:_="" ns4:_="">
    <xsd:import namespace="309981f7-9c0a-451b-90ab-63f92cb69fd7"/>
    <xsd:import namespace="5352bb14-628a-42a2-98be-2cfc82d48f96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LengthInSeconds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9981f7-9c0a-451b-90ab-63f92cb69fd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52bb14-628a-42a2-98be-2cfc82d48f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0DB7948-951D-4D64-8958-E34AFB7597C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E3DB897-9FD2-40D0-A68E-D7C262CA259A}">
  <ds:schemaRefs>
    <ds:schemaRef ds:uri="309981f7-9c0a-451b-90ab-63f92cb69fd7"/>
    <ds:schemaRef ds:uri="5352bb14-628a-42a2-98be-2cfc82d48f9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B72BCDE-43CB-4B5A-8A0F-2633DE3ABDDB}">
  <ds:schemaRefs>
    <ds:schemaRef ds:uri="309981f7-9c0a-451b-90ab-63f92cb69fd7"/>
    <ds:schemaRef ds:uri="5352bb14-628a-42a2-98be-2cfc82d48f9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Minsait_externa_03102018 (2)</Template>
  <Application>Microsoft Office PowerPoint</Application>
  <PresentationFormat>On-screen Show (4:3)</PresentationFormat>
  <Slides>22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3" baseType="lpstr">
      <vt:lpstr>Portadas</vt:lpstr>
      <vt:lpstr>Web 3.0 - Blockchain</vt:lpstr>
      <vt:lpstr>Trabajar con una blockchain</vt:lpstr>
      <vt:lpstr>Ethereum</vt:lpstr>
      <vt:lpstr>Metamask</vt:lpstr>
      <vt:lpstr>Funcionalidades MetaMask </vt:lpstr>
      <vt:lpstr>Web3.js</vt:lpstr>
      <vt:lpstr>Funcionalidades Web3.js</vt:lpstr>
      <vt:lpstr>Instalación y configuración  de Web3.js</vt:lpstr>
      <vt:lpstr>Ganache</vt:lpstr>
      <vt:lpstr>Instalación y configuración de Ganache</vt:lpstr>
      <vt:lpstr>Características de Ganache</vt:lpstr>
      <vt:lpstr>PowerPoint Presentation</vt:lpstr>
      <vt:lpstr>Características de la Blockchain</vt:lpstr>
      <vt:lpstr>Dapps y frameworks</vt:lpstr>
      <vt:lpstr>Índice</vt:lpstr>
      <vt:lpstr>Contratos inteligentes (smart contracts)</vt:lpstr>
      <vt:lpstr>Dapp  - aplicación descentralizada</vt:lpstr>
      <vt:lpstr>Características principales</vt:lpstr>
      <vt:lpstr>Frameworks</vt:lpstr>
      <vt:lpstr>Antes de ver el ejemplo de truffle... </vt:lpstr>
      <vt:lpstr>¡Gracias!</vt:lpstr>
      <vt:lpstr>PowerPoint Presentation</vt:lpstr>
    </vt:vector>
  </TitlesOfParts>
  <Company>Indra Sistemas 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externa</dc:title>
  <dc:creator>Paramo Muñiz, Jose Luis</dc:creator>
  <cp:revision>2</cp:revision>
  <cp:lastPrinted>2018-09-05T10:32:03Z</cp:lastPrinted>
  <dcterms:created xsi:type="dcterms:W3CDTF">2020-07-10T07:36:34Z</dcterms:created>
  <dcterms:modified xsi:type="dcterms:W3CDTF">2024-10-15T06:4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D587DDEA6D544AB36945085B695760</vt:lpwstr>
  </property>
</Properties>
</file>